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105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6" r:id="rId3"/>
    <p:sldId id="276" r:id="rId4"/>
    <p:sldId id="259" r:id="rId5"/>
    <p:sldId id="263" r:id="rId6"/>
    <p:sldId id="278" r:id="rId7"/>
    <p:sldId id="279" r:id="rId8"/>
    <p:sldId id="280" r:id="rId9"/>
    <p:sldId id="281" r:id="rId10"/>
    <p:sldId id="282" r:id="rId11"/>
    <p:sldId id="283" r:id="rId12"/>
    <p:sldId id="284" r:id="rId13"/>
    <p:sldId id="285" r:id="rId14"/>
    <p:sldId id="286" r:id="rId15"/>
    <p:sldId id="287" r:id="rId16"/>
    <p:sldId id="268" r:id="rId17"/>
  </p:sldIdLst>
  <p:sldSz cx="9145588" cy="6858000"/>
  <p:notesSz cx="6888163" cy="100203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93">
          <p15:clr>
            <a:srgbClr val="A4A3A4"/>
          </p15:clr>
        </p15:guide>
        <p15:guide id="15" orient="horz" pos="2478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2">
          <p15:clr>
            <a:srgbClr val="A4A3A4"/>
          </p15:clr>
        </p15:guide>
        <p15:guide id="27" pos="620">
          <p15:clr>
            <a:srgbClr val="A4A3A4"/>
          </p15:clr>
        </p15:guide>
        <p15:guide id="28" pos="5501">
          <p15:clr>
            <a:srgbClr val="A4A3A4"/>
          </p15:clr>
        </p15:guide>
        <p15:guide id="29" pos="1672">
          <p15:clr>
            <a:srgbClr val="A4A3A4"/>
          </p15:clr>
        </p15:guide>
        <p15:guide id="31" pos="1897">
          <p15:clr>
            <a:srgbClr val="A4A3A4"/>
          </p15:clr>
        </p15:guide>
        <p15:guide id="32" pos="4226">
          <p15:clr>
            <a:srgbClr val="A4A3A4"/>
          </p15:clr>
        </p15:guide>
        <p15:guide id="33" pos="4451">
          <p15:clr>
            <a:srgbClr val="A4A3A4"/>
          </p15:clr>
        </p15:guide>
        <p15:guide id="35" pos="3062">
          <p15:clr>
            <a:srgbClr val="A4A3A4"/>
          </p15:clr>
        </p15:guide>
        <p15:guide id="36" pos="2948">
          <p15:clr>
            <a:srgbClr val="A4A3A4"/>
          </p15:clr>
        </p15:guide>
        <p15:guide id="37" pos="31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C713"/>
    <a:srgbClr val="00A5E2"/>
    <a:srgbClr val="E61A5D"/>
    <a:srgbClr val="FF3162"/>
    <a:srgbClr val="624963"/>
    <a:srgbClr val="D30F4B"/>
    <a:srgbClr val="0091DF"/>
    <a:srgbClr val="00617F"/>
    <a:srgbClr val="2B6640"/>
    <a:srgbClr val="66B5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 showGuides="1">
      <p:cViewPr varScale="1">
        <p:scale>
          <a:sx n="103" d="100"/>
          <a:sy n="103" d="100"/>
        </p:scale>
        <p:origin x="-1134" y="-90"/>
      </p:cViewPr>
      <p:guideLst>
        <p:guide orient="horz" pos="1093"/>
        <p:guide orient="horz" pos="2478"/>
        <p:guide orient="horz" pos="2704"/>
        <p:guide orient="horz" pos="4086"/>
        <p:guide orient="horz" pos="2592"/>
        <p:guide pos="620"/>
        <p:guide pos="5501"/>
        <p:guide pos="1672"/>
        <p:guide pos="1897"/>
        <p:guide pos="4226"/>
        <p:guide pos="4451"/>
        <p:guide pos="3062"/>
        <p:guide pos="2948"/>
        <p:guide pos="31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9" d="100"/>
          <a:sy n="79" d="100"/>
        </p:scale>
        <p:origin x="-3912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887" y="178130"/>
            <a:ext cx="5963090" cy="180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/>
            </a:lvl1pPr>
            <a:lvl2pPr marL="4763" indent="0">
              <a:defRPr sz="800"/>
            </a:lvl2pPr>
            <a:lvl3pPr marL="0" indent="0">
              <a:defRPr sz="800"/>
            </a:lvl3pPr>
            <a:lvl4pPr marL="4763" indent="0">
              <a:defRPr sz="800"/>
            </a:lvl4pPr>
            <a:lvl5pPr marL="0" indent="0">
              <a:defRPr sz="800"/>
            </a:lvl5pPr>
            <a:lvl6pPr marL="4763" indent="0">
              <a:defRPr sz="800"/>
            </a:lvl6pPr>
            <a:lvl7pPr marL="0" indent="0">
              <a:defRPr sz="800"/>
            </a:lvl7pPr>
            <a:lvl8pPr marL="4763" indent="0">
              <a:defRPr sz="800"/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27638" y="9669879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noFill/>
              </a:defRPr>
            </a:lvl1pPr>
            <a:lvl2pPr marL="0" indent="0">
              <a:defRPr sz="800">
                <a:noFill/>
              </a:defRPr>
            </a:lvl2pPr>
            <a:lvl3pPr marL="0" indent="0" algn="l">
              <a:defRPr sz="800">
                <a:noFill/>
              </a:defRPr>
            </a:lvl3pPr>
            <a:lvl4pPr marL="0" indent="0">
              <a:defRPr sz="800">
                <a:noFill/>
              </a:defRPr>
            </a:lvl4pPr>
            <a:lvl5pPr marL="0" indent="0">
              <a:defRPr sz="800">
                <a:noFill/>
              </a:defRPr>
            </a:lvl5pPr>
            <a:lvl6pPr marL="0" indent="0">
              <a:defRPr sz="800">
                <a:noFill/>
              </a:defRPr>
            </a:lvl6pPr>
            <a:lvl7pPr marL="0" indent="0">
              <a:defRPr sz="800">
                <a:noFill/>
              </a:defRPr>
            </a:lvl7pPr>
            <a:lvl8pPr marL="0" indent="0">
              <a:defRPr sz="800">
                <a:noFill/>
              </a:defRPr>
            </a:lvl8pPr>
            <a:lvl9pPr marL="0" indent="0">
              <a:defRPr sz="8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3/22/2018</a:t>
            </a:fld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542925" y="9669879"/>
            <a:ext cx="5415763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/>
            </a:lvl1pPr>
            <a:lvl2pPr marL="4763" indent="0">
              <a:defRPr sz="800">
                <a:solidFill>
                  <a:schemeClr val="tx1"/>
                </a:solidFill>
              </a:defRPr>
            </a:lvl2pPr>
            <a:lvl3pPr marL="0" indent="0">
              <a:defRPr sz="800"/>
            </a:lvl3pPr>
            <a:lvl4pPr marL="4763" indent="0">
              <a:defRPr sz="800"/>
            </a:lvl4pPr>
            <a:lvl5pPr marL="0" indent="0">
              <a:defRPr sz="800"/>
            </a:lvl5pPr>
            <a:lvl6pPr marL="4763" indent="0">
              <a:defRPr sz="800"/>
            </a:lvl6pPr>
            <a:lvl7pPr marL="0" indent="0">
              <a:defRPr sz="800"/>
            </a:lvl7pPr>
            <a:lvl8pPr marL="4763" indent="0">
              <a:defRPr sz="800"/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92744" y="9669879"/>
            <a:ext cx="209006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/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341769" y="187334"/>
            <a:ext cx="364262" cy="374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w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584278" y="617538"/>
            <a:ext cx="2470694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7" y="2938490"/>
            <a:ext cx="6506514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smtClean="0"/>
              <a:t>level</a:t>
            </a:r>
            <a:endParaRPr lang="en-US" dirty="0"/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2" y="183269"/>
            <a:ext cx="5900409" cy="180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/>
            </a:lvl1pPr>
            <a:lvl2pPr marL="4763" indent="0">
              <a:defRPr sz="800"/>
            </a:lvl2pPr>
            <a:lvl3pPr marL="0" indent="0">
              <a:defRPr sz="800"/>
            </a:lvl3pPr>
            <a:lvl4pPr marL="4763" indent="0">
              <a:defRPr sz="800"/>
            </a:lvl4pPr>
            <a:lvl5pPr marL="0" indent="0">
              <a:defRPr sz="800"/>
            </a:lvl5pPr>
            <a:lvl6pPr marL="4763" indent="0">
              <a:defRPr sz="800"/>
            </a:lvl6pPr>
            <a:lvl7pPr marL="0" indent="0">
              <a:defRPr sz="800"/>
            </a:lvl7pPr>
            <a:lvl8pPr marL="4763" indent="0">
              <a:defRPr sz="800"/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9301" y="9658526"/>
            <a:ext cx="540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noFill/>
              </a:defRPr>
            </a:lvl1pPr>
            <a:lvl2pPr marL="0" indent="0">
              <a:defRPr sz="800">
                <a:noFill/>
              </a:defRPr>
            </a:lvl2pPr>
            <a:lvl3pPr marL="0" indent="0" algn="l">
              <a:defRPr sz="800">
                <a:noFill/>
              </a:defRPr>
            </a:lvl3pPr>
            <a:lvl4pPr marL="0" indent="0">
              <a:defRPr sz="800">
                <a:noFill/>
              </a:defRPr>
            </a:lvl4pPr>
            <a:lvl5pPr marL="0" indent="0">
              <a:defRPr sz="800">
                <a:noFill/>
              </a:defRPr>
            </a:lvl5pPr>
            <a:lvl6pPr marL="0" indent="0">
              <a:defRPr sz="800">
                <a:noFill/>
              </a:defRPr>
            </a:lvl6pPr>
            <a:lvl7pPr marL="0" indent="0">
              <a:defRPr sz="800">
                <a:noFill/>
              </a:defRPr>
            </a:lvl7pPr>
            <a:lvl8pPr marL="0" indent="0">
              <a:defRPr sz="800">
                <a:noFill/>
              </a:defRPr>
            </a:lvl8pPr>
            <a:lvl9pPr marL="0" indent="0">
              <a:defRPr sz="8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3/22/2018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2925" y="9658526"/>
            <a:ext cx="5415763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/>
            </a:lvl1pPr>
            <a:lvl2pPr marL="4763" indent="0">
              <a:defRPr sz="800">
                <a:solidFill>
                  <a:schemeClr val="tx1"/>
                </a:solidFill>
              </a:defRPr>
            </a:lvl2pPr>
            <a:lvl3pPr marL="0" indent="0">
              <a:defRPr sz="800"/>
            </a:lvl3pPr>
            <a:lvl4pPr marL="4763" indent="0">
              <a:defRPr sz="800"/>
            </a:lvl4pPr>
            <a:lvl5pPr marL="0" indent="0">
              <a:defRPr sz="800"/>
            </a:lvl5pPr>
            <a:lvl6pPr marL="4763" indent="0">
              <a:defRPr sz="800"/>
            </a:lvl6pPr>
            <a:lvl7pPr marL="0" indent="0">
              <a:defRPr sz="800"/>
            </a:lvl7pPr>
            <a:lvl8pPr marL="4763" indent="0">
              <a:defRPr sz="800"/>
            </a:lvl8pPr>
            <a:lvl9pPr marL="0" indent="0">
              <a:defRPr sz="8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744" y="9658526"/>
            <a:ext cx="209006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/>
            </a:lvl1pPr>
            <a:lvl2pPr marL="0" indent="0">
              <a:defRPr sz="800"/>
            </a:lvl2pPr>
            <a:lvl3pPr marL="0" indent="0">
              <a:defRPr sz="800"/>
            </a:lvl3pPr>
            <a:lvl4pPr marL="0" indent="0">
              <a:defRPr sz="800"/>
            </a:lvl4pPr>
            <a:lvl5pPr marL="0" indent="0">
              <a:defRPr sz="800"/>
            </a:lvl5pPr>
            <a:lvl6pPr marL="0" indent="0">
              <a:defRPr sz="800"/>
            </a:lvl6pPr>
            <a:lvl7pPr marL="0" indent="0">
              <a:defRPr sz="800"/>
            </a:lvl7pPr>
            <a:lvl8pPr marL="0" indent="0">
              <a:defRPr sz="800"/>
            </a:lvl8pPr>
            <a:lvl9pPr marL="0" indent="0">
              <a:defRPr sz="8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297985" y="2056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261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5039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781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698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50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69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3698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9800" y="750888"/>
            <a:ext cx="5008563" cy="3757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3927-DCB3-4217-9CFF-98891BD77D10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4530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39800" y="750888"/>
            <a:ext cx="5008563" cy="3757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B03927-DCB3-4217-9CFF-98891BD77D10}" type="slidenum">
              <a:rPr lang="de-DE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4530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4200" y="617538"/>
            <a:ext cx="2470150" cy="1852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C4915B-BD0E-48CA-A25D-B21636BC568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1276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w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1"/>
            <a:ext cx="1269386" cy="1691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4" y="1732422"/>
            <a:ext cx="3621600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CE0D406-E68E-4AA7-BBEE-F6EA07296675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364" y="2424948"/>
            <a:ext cx="3621600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6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pic>
        <p:nvPicPr>
          <p:cNvPr id="12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xmlns="" id="{3AE12DAB-2D47-45F3-BA6C-37F8F6A2D9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5067747" cy="6858000"/>
          </a:xfrm>
          <a:custGeom>
            <a:avLst/>
            <a:gdLst>
              <a:gd name="connsiteX0" fmla="*/ 1341581 w 5067747"/>
              <a:gd name="connsiteY0" fmla="*/ 0 h 6858000"/>
              <a:gd name="connsiteX1" fmla="*/ 5067747 w 5067747"/>
              <a:gd name="connsiteY1" fmla="*/ 0 h 6858000"/>
              <a:gd name="connsiteX2" fmla="*/ 5067747 w 5067747"/>
              <a:gd name="connsiteY2" fmla="*/ 5739354 h 6858000"/>
              <a:gd name="connsiteX3" fmla="*/ 230634 w 5067747"/>
              <a:gd name="connsiteY3" fmla="*/ 6858000 h 6858000"/>
              <a:gd name="connsiteX4" fmla="*/ 0 w 5067747"/>
              <a:gd name="connsiteY4" fmla="*/ 6858000 h 6858000"/>
              <a:gd name="connsiteX0" fmla="*/ 1341581 w 5067747"/>
              <a:gd name="connsiteY0" fmla="*/ 0 h 6858000"/>
              <a:gd name="connsiteX1" fmla="*/ 5067747 w 5067747"/>
              <a:gd name="connsiteY1" fmla="*/ 0 h 6858000"/>
              <a:gd name="connsiteX2" fmla="*/ 5065365 w 5067747"/>
              <a:gd name="connsiteY2" fmla="*/ 6006054 h 6858000"/>
              <a:gd name="connsiteX3" fmla="*/ 230634 w 5067747"/>
              <a:gd name="connsiteY3" fmla="*/ 6858000 h 6858000"/>
              <a:gd name="connsiteX4" fmla="*/ 0 w 5067747"/>
              <a:gd name="connsiteY4" fmla="*/ 6858000 h 6858000"/>
              <a:gd name="connsiteX5" fmla="*/ 1341581 w 5067747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67747" h="6858000">
                <a:moveTo>
                  <a:pt x="1341581" y="0"/>
                </a:moveTo>
                <a:lnTo>
                  <a:pt x="5067747" y="0"/>
                </a:lnTo>
                <a:lnTo>
                  <a:pt x="5065365" y="6006054"/>
                </a:lnTo>
                <a:lnTo>
                  <a:pt x="230634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307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2" y="1138299"/>
            <a:ext cx="774720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C3D0776-C80F-4C2E-A72B-46EF07D76746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1" y="3892750"/>
            <a:ext cx="3693600" cy="259200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5035572" y="3892750"/>
            <a:ext cx="36936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1" y="1732750"/>
            <a:ext cx="36936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5035572" y="1732750"/>
            <a:ext cx="36936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23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774720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7BD9E2E-CBD1-49FA-B407-305EC56480FF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93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0" y="1138299"/>
            <a:ext cx="774720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0B6868-592A-45A2-923B-FF0E468201A7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48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0" y="1138299"/>
            <a:ext cx="774720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5377B7E-D4DE-4F7E-82E1-618D7720D3AE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219"/>
          <p:cNvGrpSpPr>
            <a:grpSpLocks noChangeAspect="1"/>
          </p:cNvGrpSpPr>
          <p:nvPr/>
        </p:nvGrpSpPr>
        <p:grpSpPr bwMode="black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9" name="Freeform 220"/>
            <p:cNvSpPr>
              <a:spLocks/>
            </p:cNvSpPr>
            <p:nvPr/>
          </p:nvSpPr>
          <p:spPr bwMode="black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221"/>
            <p:cNvSpPr>
              <a:spLocks/>
            </p:cNvSpPr>
            <p:nvPr/>
          </p:nvSpPr>
          <p:spPr bwMode="black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222"/>
            <p:cNvSpPr>
              <a:spLocks/>
            </p:cNvSpPr>
            <p:nvPr/>
          </p:nvSpPr>
          <p:spPr bwMode="black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223"/>
            <p:cNvSpPr>
              <a:spLocks noEditPoints="1"/>
            </p:cNvSpPr>
            <p:nvPr/>
          </p:nvSpPr>
          <p:spPr bwMode="black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224"/>
            <p:cNvSpPr>
              <a:spLocks noEditPoints="1"/>
            </p:cNvSpPr>
            <p:nvPr/>
          </p:nvSpPr>
          <p:spPr bwMode="black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225"/>
            <p:cNvSpPr>
              <a:spLocks noEditPoints="1"/>
            </p:cNvSpPr>
            <p:nvPr/>
          </p:nvSpPr>
          <p:spPr bwMode="black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226"/>
            <p:cNvSpPr>
              <a:spLocks noEditPoints="1"/>
            </p:cNvSpPr>
            <p:nvPr/>
          </p:nvSpPr>
          <p:spPr bwMode="black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227"/>
            <p:cNvSpPr>
              <a:spLocks noEditPoints="1"/>
            </p:cNvSpPr>
            <p:nvPr/>
          </p:nvSpPr>
          <p:spPr bwMode="black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228"/>
            <p:cNvSpPr>
              <a:spLocks noEditPoints="1"/>
            </p:cNvSpPr>
            <p:nvPr/>
          </p:nvSpPr>
          <p:spPr bwMode="black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29"/>
            <p:cNvSpPr>
              <a:spLocks noEditPoints="1"/>
            </p:cNvSpPr>
            <p:nvPr/>
          </p:nvSpPr>
          <p:spPr bwMode="black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281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1869" y="551657"/>
            <a:ext cx="7747152" cy="5933094"/>
          </a:xfrm>
        </p:spPr>
        <p:txBody>
          <a:bodyPr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184F55-CC34-4D1A-91BC-3CF968970A4B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26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0" y="0"/>
            <a:ext cx="731226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7124412-F213-4515-8A9B-EC5833D58CC2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9145588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5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/>
        </p:nvSpPr>
        <p:spPr>
          <a:xfrm flipV="1">
            <a:off x="0" y="0"/>
            <a:ext cx="6150464" cy="6877050"/>
          </a:xfrm>
          <a:custGeom>
            <a:avLst/>
            <a:gdLst/>
            <a:ahLst/>
            <a:cxnLst/>
            <a:rect l="l" t="t" r="r" b="b"/>
            <a:pathLst>
              <a:path w="6150464" h="6877050">
                <a:moveTo>
                  <a:pt x="0" y="6877050"/>
                </a:moveTo>
                <a:lnTo>
                  <a:pt x="4042419" y="6877050"/>
                </a:lnTo>
                <a:lnTo>
                  <a:pt x="6150464" y="6877050"/>
                </a:lnTo>
                <a:lnTo>
                  <a:pt x="4042419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74DEF041-ADA8-4CD4-A3F1-BBF67893AC5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048260" y="0"/>
            <a:ext cx="5097329" cy="6858000"/>
          </a:xfrm>
          <a:custGeom>
            <a:avLst/>
            <a:gdLst>
              <a:gd name="connsiteX0" fmla="*/ 2102205 w 5097329"/>
              <a:gd name="connsiteY0" fmla="*/ 0 h 6858000"/>
              <a:gd name="connsiteX1" fmla="*/ 5097329 w 5097329"/>
              <a:gd name="connsiteY1" fmla="*/ 0 h 6858000"/>
              <a:gd name="connsiteX2" fmla="*/ 5097329 w 5097329"/>
              <a:gd name="connsiteY2" fmla="*/ 6858000 h 6858000"/>
              <a:gd name="connsiteX3" fmla="*/ 0 w 509732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97329" h="6858000">
                <a:moveTo>
                  <a:pt x="2102205" y="0"/>
                </a:moveTo>
                <a:lnTo>
                  <a:pt x="5097329" y="0"/>
                </a:lnTo>
                <a:lnTo>
                  <a:pt x="50973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341285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DAF42E-28F3-47E1-8C76-981F15D96471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1676" y="2424948"/>
            <a:ext cx="3420000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18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pic>
        <p:nvPicPr>
          <p:cNvPr id="13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reeform 6"/>
          <p:cNvSpPr>
            <a:spLocks/>
          </p:cNvSpPr>
          <p:nvPr/>
        </p:nvSpPr>
        <p:spPr bwMode="auto">
          <a:xfrm>
            <a:off x="3103899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</p:spTree>
    <p:extLst>
      <p:ext uri="{BB962C8B-B14F-4D97-AF65-F5344CB8AC3E}">
        <p14:creationId xmlns:p14="http://schemas.microsoft.com/office/powerpoint/2010/main" val="235582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/>
        </p:nvSpPr>
        <p:spPr>
          <a:xfrm flipV="1">
            <a:off x="0" y="0"/>
            <a:ext cx="6150464" cy="6877050"/>
          </a:xfrm>
          <a:custGeom>
            <a:avLst/>
            <a:gdLst/>
            <a:ahLst/>
            <a:cxnLst/>
            <a:rect l="l" t="t" r="r" b="b"/>
            <a:pathLst>
              <a:path w="6150464" h="6877050">
                <a:moveTo>
                  <a:pt x="0" y="6877050"/>
                </a:moveTo>
                <a:lnTo>
                  <a:pt x="4042419" y="6877050"/>
                </a:lnTo>
                <a:lnTo>
                  <a:pt x="6150464" y="6877050"/>
                </a:lnTo>
                <a:lnTo>
                  <a:pt x="404241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40"/>
              </a:gs>
              <a:gs pos="0">
                <a:srgbClr val="2B6640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xmlns="" id="{74DEF041-ADA8-4CD4-A3F1-BBF67893AC5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048260" y="0"/>
            <a:ext cx="5097329" cy="6858000"/>
          </a:xfrm>
          <a:custGeom>
            <a:avLst/>
            <a:gdLst>
              <a:gd name="connsiteX0" fmla="*/ 2102205 w 5097329"/>
              <a:gd name="connsiteY0" fmla="*/ 0 h 6858000"/>
              <a:gd name="connsiteX1" fmla="*/ 5097329 w 5097329"/>
              <a:gd name="connsiteY1" fmla="*/ 0 h 6858000"/>
              <a:gd name="connsiteX2" fmla="*/ 5097329 w 5097329"/>
              <a:gd name="connsiteY2" fmla="*/ 6858000 h 6858000"/>
              <a:gd name="connsiteX3" fmla="*/ 0 w 509732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97329" h="6858000">
                <a:moveTo>
                  <a:pt x="2102205" y="0"/>
                </a:moveTo>
                <a:lnTo>
                  <a:pt x="5097329" y="0"/>
                </a:lnTo>
                <a:lnTo>
                  <a:pt x="50973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  <p:pic>
        <p:nvPicPr>
          <p:cNvPr id="33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6"/>
          <p:cNvSpPr>
            <a:spLocks/>
          </p:cNvSpPr>
          <p:nvPr/>
        </p:nvSpPr>
        <p:spPr bwMode="auto">
          <a:xfrm>
            <a:off x="3103899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99ABBAF-E906-44CD-8F34-93C8D6BC4D18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341285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38" name="Title 1"/>
          <p:cNvSpPr>
            <a:spLocks noGrp="1"/>
          </p:cNvSpPr>
          <p:nvPr>
            <p:ph type="ctrTitle"/>
          </p:nvPr>
        </p:nvSpPr>
        <p:spPr bwMode="white">
          <a:xfrm>
            <a:off x="701676" y="2424948"/>
            <a:ext cx="3420000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9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18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</p:spTree>
    <p:extLst>
      <p:ext uri="{BB962C8B-B14F-4D97-AF65-F5344CB8AC3E}">
        <p14:creationId xmlns:p14="http://schemas.microsoft.com/office/powerpoint/2010/main" val="321881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14"/>
          <p:cNvSpPr/>
          <p:nvPr/>
        </p:nvSpPr>
        <p:spPr>
          <a:xfrm flipV="1">
            <a:off x="0" y="0"/>
            <a:ext cx="6150464" cy="6877050"/>
          </a:xfrm>
          <a:custGeom>
            <a:avLst/>
            <a:gdLst/>
            <a:ahLst/>
            <a:cxnLst/>
            <a:rect l="l" t="t" r="r" b="b"/>
            <a:pathLst>
              <a:path w="6150464" h="6877050">
                <a:moveTo>
                  <a:pt x="0" y="6877050"/>
                </a:moveTo>
                <a:lnTo>
                  <a:pt x="4042419" y="6877050"/>
                </a:lnTo>
                <a:lnTo>
                  <a:pt x="6150464" y="6877050"/>
                </a:lnTo>
                <a:lnTo>
                  <a:pt x="404241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xmlns="" id="{74DEF041-ADA8-4CD4-A3F1-BBF67893AC5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048260" y="0"/>
            <a:ext cx="5097329" cy="6858000"/>
          </a:xfrm>
          <a:custGeom>
            <a:avLst/>
            <a:gdLst>
              <a:gd name="connsiteX0" fmla="*/ 2102205 w 5097329"/>
              <a:gd name="connsiteY0" fmla="*/ 0 h 6858000"/>
              <a:gd name="connsiteX1" fmla="*/ 5097329 w 5097329"/>
              <a:gd name="connsiteY1" fmla="*/ 0 h 6858000"/>
              <a:gd name="connsiteX2" fmla="*/ 5097329 w 5097329"/>
              <a:gd name="connsiteY2" fmla="*/ 6858000 h 6858000"/>
              <a:gd name="connsiteX3" fmla="*/ 0 w 509732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97329" h="6858000">
                <a:moveTo>
                  <a:pt x="2102205" y="0"/>
                </a:moveTo>
                <a:lnTo>
                  <a:pt x="5097329" y="0"/>
                </a:lnTo>
                <a:lnTo>
                  <a:pt x="50973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  <p:pic>
        <p:nvPicPr>
          <p:cNvPr id="25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reeform 6"/>
          <p:cNvSpPr>
            <a:spLocks/>
          </p:cNvSpPr>
          <p:nvPr/>
        </p:nvSpPr>
        <p:spPr bwMode="auto">
          <a:xfrm>
            <a:off x="3103899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8076405" y="6617933"/>
            <a:ext cx="488951" cy="108000"/>
          </a:xfrm>
        </p:spPr>
        <p:txBody>
          <a:bodyPr/>
          <a:lstStyle/>
          <a:p>
            <a:fld id="{25CB01AA-838D-4608-B3E8-5F8B22B7D521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29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981821" y="6617933"/>
            <a:ext cx="5588025" cy="108000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96575" y="6617933"/>
            <a:ext cx="391593" cy="108000"/>
          </a:xfr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"/>
          </p:nvPr>
        </p:nvSpPr>
        <p:spPr bwMode="gray">
          <a:xfrm>
            <a:off x="708819" y="1732422"/>
            <a:ext cx="341285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32" name="Title 1"/>
          <p:cNvSpPr>
            <a:spLocks noGrp="1"/>
          </p:cNvSpPr>
          <p:nvPr>
            <p:ph type="ctrTitle"/>
          </p:nvPr>
        </p:nvSpPr>
        <p:spPr bwMode="white">
          <a:xfrm>
            <a:off x="701676" y="2424948"/>
            <a:ext cx="3420000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13"/>
          </p:nvPr>
        </p:nvSpPr>
        <p:spPr bwMode="gray">
          <a:xfrm>
            <a:off x="1414398" y="4262151"/>
            <a:ext cx="18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</p:spTree>
    <p:extLst>
      <p:ext uri="{BB962C8B-B14F-4D97-AF65-F5344CB8AC3E}">
        <p14:creationId xmlns:p14="http://schemas.microsoft.com/office/powerpoint/2010/main" val="176484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&amp;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 bwMode="gray">
          <a:xfrm>
            <a:off x="981821" y="1735137"/>
            <a:ext cx="7751408" cy="4749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73CB2DA-E066-4376-AD19-AE54D56230C3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4"/>
          <p:cNvSpPr txBox="1">
            <a:spLocks/>
          </p:cNvSpPr>
          <p:nvPr/>
        </p:nvSpPr>
        <p:spPr bwMode="gray">
          <a:xfrm>
            <a:off x="984202" y="590935"/>
            <a:ext cx="7747200" cy="45500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ontent area and guid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145588" cy="6858002"/>
            <a:chOff x="0" y="0"/>
            <a:chExt cx="12190413" cy="6858002"/>
          </a:xfrm>
        </p:grpSpPr>
        <p:cxnSp>
          <p:nvCxnSpPr>
            <p:cNvPr id="10" name="Straight Connector 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 bwMode="gray">
            <a:xfrm>
              <a:off x="0" y="6484751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 bwMode="gray">
            <a:xfrm flipV="1">
              <a:off x="1308697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 bwMode="gray">
            <a:xfrm flipV="1">
              <a:off x="1164076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 bwMode="gray">
            <a:xfrm flipV="1">
              <a:off x="6238038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 bwMode="gray">
            <a:xfrm flipV="1">
              <a:off x="6716259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 bwMode="gray">
            <a:xfrm>
              <a:off x="0" y="393486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0" y="4289945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 flipV="1">
              <a:off x="3537992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 flipV="1">
              <a:off x="4014675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 flipV="1">
              <a:off x="8940001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gray">
            <a:xfrm flipV="1">
              <a:off x="9418090" y="0"/>
              <a:ext cx="0" cy="685800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Rectangle 33"/>
            <p:cNvSpPr/>
            <p:nvPr/>
          </p:nvSpPr>
          <p:spPr bwMode="gray">
            <a:xfrm>
              <a:off x="1308696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9,96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3.92</a:t>
              </a:r>
            </a:p>
            <a:p>
              <a:pPr algn="l"/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056021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5,33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2.10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4015243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4,33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1.71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5756068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,3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12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6719209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1,30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0.51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8458029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5,93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2.34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418659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6,93</a:t>
              </a:r>
            </a:p>
            <a:p>
              <a:pPr algn="l"/>
              <a:r>
                <a:rPr lang="de-DE" sz="800" dirty="0">
                  <a:solidFill>
                    <a:schemeClr val="accent6"/>
                  </a:solidFill>
                </a:rPr>
                <a:t>2.73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1155747" y="2143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11,56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4.55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1707759" y="1741637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4,7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1.85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 bwMode="gray">
            <a:xfrm>
              <a:off x="11707759" y="6244245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 smtClean="0">
                  <a:solidFill>
                    <a:schemeClr val="accent6"/>
                  </a:solidFill>
                </a:rPr>
                <a:t>8,49</a:t>
              </a:r>
              <a:endParaRPr lang="en-US" sz="8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3.34</a:t>
              </a: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11707759" y="4289945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/>
            <a:lstStyle/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2,40</a:t>
              </a: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94</a:t>
              </a:r>
              <a:endParaRPr lang="en-US" sz="800" dirty="0">
                <a:solidFill>
                  <a:schemeClr val="accent6"/>
                </a:solidFill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 bwMode="gray">
            <a:xfrm>
              <a:off x="11707759" y="3694362"/>
              <a:ext cx="479854" cy="2405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b"/>
            <a:lstStyle/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800" dirty="0">
                  <a:solidFill>
                    <a:schemeClr val="accent6"/>
                  </a:solidFill>
                </a:rPr>
                <a:t>1,40</a:t>
              </a:r>
              <a:endParaRPr lang="en-US" sz="800" dirty="0">
                <a:solidFill>
                  <a:schemeClr val="accent6"/>
                </a:solidFill>
              </a:endParaRPr>
            </a:p>
            <a:p>
              <a:pPr algn="r"/>
              <a:r>
                <a:rPr lang="de-DE" sz="800" dirty="0">
                  <a:solidFill>
                    <a:schemeClr val="accent6"/>
                  </a:solidFill>
                </a:rPr>
                <a:t>0.55</a:t>
              </a:r>
            </a:p>
          </p:txBody>
        </p:sp>
        <p:cxnSp>
          <p:nvCxnSpPr>
            <p:cNvPr id="43" name="Straight Connector 42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 userDrawn="1"/>
          </p:nvCxnSpPr>
          <p:spPr bwMode="gray">
            <a:xfrm>
              <a:off x="0" y="1735138"/>
              <a:ext cx="12190413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15"/>
            <p:cNvCxnSpPr/>
            <p:nvPr userDrawn="1"/>
          </p:nvCxnSpPr>
          <p:spPr bwMode="gray">
            <a:xfrm flipV="1">
              <a:off x="6476091" y="0"/>
              <a:ext cx="0" cy="685800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Rectangle 37"/>
            <p:cNvSpPr/>
            <p:nvPr userDrawn="1"/>
          </p:nvSpPr>
          <p:spPr bwMode="gray">
            <a:xfrm>
              <a:off x="6207144" y="26194"/>
              <a:ext cx="297510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0,80</a:t>
              </a:r>
            </a:p>
          </p:txBody>
        </p:sp>
        <p:sp>
          <p:nvSpPr>
            <p:cNvPr id="51" name="Rectangle 37"/>
            <p:cNvSpPr/>
            <p:nvPr userDrawn="1"/>
          </p:nvSpPr>
          <p:spPr bwMode="gray">
            <a:xfrm>
              <a:off x="6455554" y="26194"/>
              <a:ext cx="297510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l"/>
              <a:r>
                <a:rPr lang="de-DE" sz="600" dirty="0">
                  <a:solidFill>
                    <a:schemeClr val="tx2"/>
                  </a:solidFill>
                </a:rPr>
                <a:t>0.31</a:t>
              </a:r>
              <a:endParaRPr lang="en-US" sz="600" dirty="0">
                <a:solidFill>
                  <a:schemeClr val="tx2"/>
                </a:solidFill>
              </a:endParaRPr>
            </a:p>
          </p:txBody>
        </p:sp>
        <p:sp>
          <p:nvSpPr>
            <p:cNvPr id="53" name="Rectangle 37"/>
            <p:cNvSpPr/>
            <p:nvPr userDrawn="1"/>
          </p:nvSpPr>
          <p:spPr bwMode="gray">
            <a:xfrm>
              <a:off x="11864925" y="4006695"/>
              <a:ext cx="297510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1,90</a:t>
              </a:r>
            </a:p>
          </p:txBody>
        </p:sp>
        <p:sp>
          <p:nvSpPr>
            <p:cNvPr id="55" name="Rectangle 37"/>
            <p:cNvSpPr/>
            <p:nvPr userDrawn="1"/>
          </p:nvSpPr>
          <p:spPr bwMode="gray">
            <a:xfrm>
              <a:off x="11855399" y="4129086"/>
              <a:ext cx="297510" cy="90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t"/>
            <a:lstStyle/>
            <a:p>
              <a:pPr algn="r"/>
              <a:r>
                <a:rPr lang="de-DE" sz="600" dirty="0">
                  <a:solidFill>
                    <a:schemeClr val="tx2"/>
                  </a:solidFill>
                </a:rPr>
                <a:t>0.75</a:t>
              </a:r>
              <a:endParaRPr lang="en-US" sz="600" dirty="0">
                <a:solidFill>
                  <a:schemeClr val="tx2"/>
                </a:solidFill>
              </a:endParaRPr>
            </a:p>
          </p:txBody>
        </p:sp>
        <p:cxnSp>
          <p:nvCxnSpPr>
            <p:cNvPr id="57" name="Straight Connector 27"/>
            <p:cNvCxnSpPr/>
            <p:nvPr userDrawn="1"/>
          </p:nvCxnSpPr>
          <p:spPr bwMode="gray">
            <a:xfrm>
              <a:off x="0" y="4113076"/>
              <a:ext cx="12190413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17"/>
          <p:cNvSpPr/>
          <p:nvPr/>
        </p:nvSpPr>
        <p:spPr bwMode="gray">
          <a:xfrm>
            <a:off x="981820" y="1735137"/>
            <a:ext cx="7751409" cy="47496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lease restrict your content to this area</a:t>
            </a:r>
          </a:p>
        </p:txBody>
      </p:sp>
      <p:pic>
        <p:nvPicPr>
          <p:cNvPr id="60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399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white">
          <a:xfrm>
            <a:off x="0" y="1"/>
            <a:ext cx="1269386" cy="1691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FD95035-4937-4A42-B2B3-EAB85B17C9AA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4" y="1732422"/>
            <a:ext cx="3621600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 bwMode="black">
          <a:xfrm>
            <a:off x="709364" y="2424948"/>
            <a:ext cx="3621600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6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pic>
        <p:nvPicPr>
          <p:cNvPr id="19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xmlns="" id="{3AE12DAB-2D47-45F3-BA6C-37F8F6A2D9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5070128" cy="6858000"/>
          </a:xfrm>
          <a:custGeom>
            <a:avLst/>
            <a:gdLst>
              <a:gd name="connsiteX0" fmla="*/ 1341581 w 5067747"/>
              <a:gd name="connsiteY0" fmla="*/ 0 h 6858000"/>
              <a:gd name="connsiteX1" fmla="*/ 5067747 w 5067747"/>
              <a:gd name="connsiteY1" fmla="*/ 0 h 6858000"/>
              <a:gd name="connsiteX2" fmla="*/ 5067747 w 5067747"/>
              <a:gd name="connsiteY2" fmla="*/ 5739354 h 6858000"/>
              <a:gd name="connsiteX3" fmla="*/ 230634 w 5067747"/>
              <a:gd name="connsiteY3" fmla="*/ 6858000 h 6858000"/>
              <a:gd name="connsiteX4" fmla="*/ 0 w 5067747"/>
              <a:gd name="connsiteY4" fmla="*/ 6858000 h 6858000"/>
              <a:gd name="connsiteX0" fmla="*/ 1341581 w 5070128"/>
              <a:gd name="connsiteY0" fmla="*/ 0 h 6858000"/>
              <a:gd name="connsiteX1" fmla="*/ 5067747 w 5070128"/>
              <a:gd name="connsiteY1" fmla="*/ 0 h 6858000"/>
              <a:gd name="connsiteX2" fmla="*/ 5070128 w 5070128"/>
              <a:gd name="connsiteY2" fmla="*/ 6006054 h 6858000"/>
              <a:gd name="connsiteX3" fmla="*/ 230634 w 5070128"/>
              <a:gd name="connsiteY3" fmla="*/ 6858000 h 6858000"/>
              <a:gd name="connsiteX4" fmla="*/ 0 w 5070128"/>
              <a:gd name="connsiteY4" fmla="*/ 6858000 h 6858000"/>
              <a:gd name="connsiteX5" fmla="*/ 1341581 w 5070128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70128" h="6858000">
                <a:moveTo>
                  <a:pt x="1341581" y="0"/>
                </a:moveTo>
                <a:lnTo>
                  <a:pt x="5067747" y="0"/>
                </a:lnTo>
                <a:cubicBezTo>
                  <a:pt x="5068541" y="2002018"/>
                  <a:pt x="5069334" y="4004036"/>
                  <a:pt x="5070128" y="6006054"/>
                </a:cubicBezTo>
                <a:lnTo>
                  <a:pt x="230634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797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47226" y="1622428"/>
            <a:ext cx="8431515" cy="453311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 smtClean="0"/>
              <a:t>Text in Arial Regular 18pt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lvl="4"/>
            <a:r>
              <a:rPr lang="en-US" noProof="0" dirty="0" smtClean="0"/>
              <a:t>Fourth level</a:t>
            </a:r>
            <a:endParaRPr lang="en-US" noProof="0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724704" y="6424613"/>
            <a:ext cx="6062207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700">
                <a:solidFill>
                  <a:schemeClr val="tx1"/>
                </a:solidFill>
              </a:defRPr>
            </a:lvl1pPr>
            <a:lvl2pPr marL="0" indent="0">
              <a:defRPr sz="700">
                <a:solidFill>
                  <a:schemeClr val="tx1"/>
                </a:solidFill>
              </a:defRPr>
            </a:lvl2pPr>
            <a:lvl3pPr marL="1331" indent="0">
              <a:defRPr sz="700">
                <a:solidFill>
                  <a:schemeClr val="tx1"/>
                </a:solidFill>
              </a:defRPr>
            </a:lvl3pPr>
            <a:lvl4pPr marL="2662" indent="0">
              <a:defRPr sz="700">
                <a:solidFill>
                  <a:schemeClr val="tx1"/>
                </a:solidFill>
              </a:defRPr>
            </a:lvl4pPr>
            <a:lvl5pPr marL="2662" indent="0">
              <a:defRPr sz="700">
                <a:solidFill>
                  <a:schemeClr val="tx1"/>
                </a:solidFill>
              </a:defRPr>
            </a:lvl5pPr>
            <a:lvl6pPr marL="0" indent="0">
              <a:defRPr sz="700">
                <a:solidFill>
                  <a:schemeClr val="tx1"/>
                </a:solidFill>
              </a:defRPr>
            </a:lvl6pPr>
            <a:lvl7pPr marL="0" indent="0" algn="l">
              <a:defRPr sz="700">
                <a:solidFill>
                  <a:schemeClr val="tx1"/>
                </a:solidFill>
              </a:defRPr>
            </a:lvl7pPr>
            <a:lvl8pPr marL="0" indent="0">
              <a:defRPr sz="700">
                <a:solidFill>
                  <a:schemeClr val="tx1"/>
                </a:solidFill>
              </a:defRPr>
            </a:lvl8pPr>
            <a:lvl9pPr marL="0" indent="0">
              <a:defRPr sz="700"/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56144" y="6424613"/>
            <a:ext cx="334314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  <a:lvl2pPr marL="1331" indent="0" algn="r">
              <a:defRPr sz="700">
                <a:solidFill>
                  <a:schemeClr val="tx1"/>
                </a:solidFill>
              </a:defRPr>
            </a:lvl2pPr>
            <a:lvl3pPr marL="0" indent="0" algn="r">
              <a:defRPr sz="700">
                <a:solidFill>
                  <a:schemeClr val="tx1"/>
                </a:solidFill>
              </a:defRPr>
            </a:lvl3pPr>
            <a:lvl4pPr marL="0" indent="0" algn="r">
              <a:defRPr sz="700">
                <a:solidFill>
                  <a:schemeClr val="tx1"/>
                </a:solidFill>
              </a:defRPr>
            </a:lvl4pPr>
            <a:lvl5pPr marL="0" indent="0" algn="r">
              <a:defRPr sz="700">
                <a:solidFill>
                  <a:schemeClr val="tx1"/>
                </a:solidFill>
              </a:defRPr>
            </a:lvl5pPr>
            <a:lvl6pPr marL="0" indent="0" algn="r">
              <a:defRPr sz="700">
                <a:solidFill>
                  <a:schemeClr val="tx1"/>
                </a:solidFill>
              </a:defRPr>
            </a:lvl6pPr>
            <a:lvl7pPr marL="0" indent="0" algn="r">
              <a:defRPr sz="700">
                <a:solidFill>
                  <a:schemeClr val="tx1"/>
                </a:solidFill>
              </a:defRPr>
            </a:lvl7pPr>
            <a:lvl8pPr marL="0" indent="0" algn="r">
              <a:defRPr sz="700">
                <a:solidFill>
                  <a:schemeClr val="tx1"/>
                </a:solidFill>
              </a:defRPr>
            </a:lvl8pPr>
            <a:lvl9pPr marL="0" indent="0" algn="r">
              <a:defRPr sz="7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336525" y="445199"/>
            <a:ext cx="7178769" cy="85653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 noProof="0" smtClean="0"/>
              <a:t>Образец заголовка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707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B0743B-00FD-47F3-9B43-81D132291AB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4C096D-04B8-4A97-9340-DB239A8C23C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0878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517718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43F750-C200-4ED7-BC63-0406D9DE1C39}" type="datetimeFigureOut">
              <a:rPr lang="ru-RU" smtClean="0"/>
              <a:t>22.03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F79B2B-4FE6-4B66-B213-5B602DFFDD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6099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white">
          <a:xfrm>
            <a:off x="0" y="1"/>
            <a:ext cx="1269386" cy="16910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21C29FF-B7CA-4AD5-B604-E090394FA084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4" y="1732422"/>
            <a:ext cx="3621600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 bwMode="black">
          <a:xfrm>
            <a:off x="709364" y="2424948"/>
            <a:ext cx="3621600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6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pic>
        <p:nvPicPr>
          <p:cNvPr id="19" name="Picture 2" descr="\\nas-mainz\Projekte_vertraulich\Bayer\17-0612_Fischer_CI-Redesign\vom Kunden\Bayer_Cross_2017_REV-White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xmlns="" id="{3AE12DAB-2D47-45F3-BA6C-37F8F6A2D9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5070128" cy="6858000"/>
          </a:xfrm>
          <a:custGeom>
            <a:avLst/>
            <a:gdLst>
              <a:gd name="connsiteX0" fmla="*/ 1341581 w 5067747"/>
              <a:gd name="connsiteY0" fmla="*/ 0 h 6858000"/>
              <a:gd name="connsiteX1" fmla="*/ 5067747 w 5067747"/>
              <a:gd name="connsiteY1" fmla="*/ 0 h 6858000"/>
              <a:gd name="connsiteX2" fmla="*/ 5067747 w 5067747"/>
              <a:gd name="connsiteY2" fmla="*/ 5739354 h 6858000"/>
              <a:gd name="connsiteX3" fmla="*/ 230634 w 5067747"/>
              <a:gd name="connsiteY3" fmla="*/ 6858000 h 6858000"/>
              <a:gd name="connsiteX4" fmla="*/ 0 w 5067747"/>
              <a:gd name="connsiteY4" fmla="*/ 6858000 h 6858000"/>
              <a:gd name="connsiteX0" fmla="*/ 1341581 w 5070128"/>
              <a:gd name="connsiteY0" fmla="*/ 0 h 6858000"/>
              <a:gd name="connsiteX1" fmla="*/ 5067747 w 5070128"/>
              <a:gd name="connsiteY1" fmla="*/ 0 h 6858000"/>
              <a:gd name="connsiteX2" fmla="*/ 5070128 w 5070128"/>
              <a:gd name="connsiteY2" fmla="*/ 6006054 h 6858000"/>
              <a:gd name="connsiteX3" fmla="*/ 230634 w 5070128"/>
              <a:gd name="connsiteY3" fmla="*/ 6858000 h 6858000"/>
              <a:gd name="connsiteX4" fmla="*/ 0 w 5070128"/>
              <a:gd name="connsiteY4" fmla="*/ 6858000 h 6858000"/>
              <a:gd name="connsiteX5" fmla="*/ 1341581 w 5070128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070128" h="6858000">
                <a:moveTo>
                  <a:pt x="1341581" y="0"/>
                </a:moveTo>
                <a:lnTo>
                  <a:pt x="5067747" y="0"/>
                </a:lnTo>
                <a:cubicBezTo>
                  <a:pt x="5068541" y="2002018"/>
                  <a:pt x="5069334" y="4004036"/>
                  <a:pt x="5070128" y="6006054"/>
                </a:cubicBezTo>
                <a:lnTo>
                  <a:pt x="230634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ru-RU" smtClean="0"/>
              <a:t>Вставка рисун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464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1976765" y="403540"/>
            <a:ext cx="6726454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360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2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6" name="Rectangle 5"/>
          <p:cNvSpPr/>
          <p:nvPr/>
        </p:nvSpPr>
        <p:spPr bwMode="gray">
          <a:xfrm>
            <a:off x="0" y="0"/>
            <a:ext cx="731226" cy="1735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6" y="70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4759411" y="1"/>
            <a:ext cx="4386177" cy="6858000"/>
            <a:chOff x="7804236" y="1"/>
            <a:chExt cx="4386177" cy="6858000"/>
          </a:xfrm>
        </p:grpSpPr>
        <p:sp>
          <p:nvSpPr>
            <p:cNvPr id="17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B016289-E376-4A69-A17E-523B327F0566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6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/>
        </p:nvSpPr>
        <p:spPr bwMode="invGray">
          <a:xfrm>
            <a:off x="0" y="0"/>
            <a:ext cx="2104575" cy="6858000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648351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58000">
                <a:moveTo>
                  <a:pt x="0" y="0"/>
                </a:moveTo>
                <a:lnTo>
                  <a:pt x="2104575" y="0"/>
                </a:lnTo>
                <a:lnTo>
                  <a:pt x="64835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grpSp>
        <p:nvGrpSpPr>
          <p:cNvPr id="24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36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0CD19F6-CA90-4E9A-AFA4-F55DD73D38A6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5316133" y="3064854"/>
            <a:ext cx="306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461585" y="1473903"/>
            <a:ext cx="306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grpSp>
        <p:nvGrpSpPr>
          <p:cNvPr id="46" name="Group 45"/>
          <p:cNvGrpSpPr/>
          <p:nvPr/>
        </p:nvGrpSpPr>
        <p:grpSpPr bwMode="black">
          <a:xfrm>
            <a:off x="3281749" y="1"/>
            <a:ext cx="2491906" cy="6858000"/>
            <a:chOff x="4811715" y="1"/>
            <a:chExt cx="2491906" cy="6858000"/>
          </a:xfrm>
        </p:grpSpPr>
        <p:sp>
          <p:nvSpPr>
            <p:cNvPr id="47" name="Freeform 6"/>
            <p:cNvSpPr>
              <a:spLocks/>
            </p:cNvSpPr>
            <p:nvPr userDrawn="1"/>
          </p:nvSpPr>
          <p:spPr bwMode="black">
            <a:xfrm>
              <a:off x="4811715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2297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/>
        </p:nvGrpSpPr>
        <p:grpSpPr bwMode="black">
          <a:xfrm>
            <a:off x="4181291" y="0"/>
            <a:ext cx="4964297" cy="6858000"/>
            <a:chOff x="-5917386" y="-1854009"/>
            <a:chExt cx="4847975" cy="6697306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51" name="Freeform 7"/>
            <p:cNvSpPr>
              <a:spLocks/>
            </p:cNvSpPr>
            <p:nvPr userDrawn="1"/>
          </p:nvSpPr>
          <p:spPr bwMode="black">
            <a:xfrm>
              <a:off x="-5917386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  <p:sp>
        <p:nvSpPr>
          <p:cNvPr id="22" name="Freeform 21"/>
          <p:cNvSpPr/>
          <p:nvPr/>
        </p:nvSpPr>
        <p:spPr bwMode="ltGray">
          <a:xfrm>
            <a:off x="0" y="0"/>
            <a:ext cx="2104575" cy="6862762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2762"/>
              <a:gd name="connsiteX1" fmla="*/ 2104575 w 2104575"/>
              <a:gd name="connsiteY1" fmla="*/ 0 h 6862762"/>
              <a:gd name="connsiteX2" fmla="*/ 645969 w 2104575"/>
              <a:gd name="connsiteY2" fmla="*/ 6862762 h 6862762"/>
              <a:gd name="connsiteX3" fmla="*/ 0 w 2104575"/>
              <a:gd name="connsiteY3" fmla="*/ 6858000 h 6862762"/>
              <a:gd name="connsiteX4" fmla="*/ 0 w 2104575"/>
              <a:gd name="connsiteY4" fmla="*/ 0 h 6862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2762">
                <a:moveTo>
                  <a:pt x="0" y="0"/>
                </a:moveTo>
                <a:lnTo>
                  <a:pt x="2104575" y="0"/>
                </a:lnTo>
                <a:lnTo>
                  <a:pt x="645969" y="686276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grpSp>
        <p:nvGrpSpPr>
          <p:cNvPr id="24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39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5010312" y="2989334"/>
            <a:ext cx="306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593E2BE-DFCA-4930-9B8D-792D9295071D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819973" y="2134650"/>
            <a:ext cx="306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r">
              <a:buNone/>
              <a:defRPr sz="2400" b="1">
                <a:solidFill>
                  <a:schemeClr val="accent1"/>
                </a:solidFill>
              </a:defRPr>
            </a:lvl2pPr>
            <a:lvl3pPr marL="0" indent="0" algn="r">
              <a:buNone/>
              <a:defRPr sz="2400" b="1">
                <a:solidFill>
                  <a:schemeClr val="accent1"/>
                </a:solidFill>
              </a:defRPr>
            </a:lvl3pPr>
            <a:lvl4pPr marL="0" indent="0" algn="r">
              <a:buNone/>
              <a:defRPr sz="2400" b="1">
                <a:solidFill>
                  <a:schemeClr val="accent1"/>
                </a:solidFill>
              </a:defRPr>
            </a:lvl4pPr>
            <a:lvl5pPr marL="0" indent="0" algn="r">
              <a:buNone/>
              <a:defRPr sz="2400" b="1">
                <a:solidFill>
                  <a:schemeClr val="accent1"/>
                </a:solidFill>
              </a:defRPr>
            </a:lvl5pPr>
            <a:lvl6pPr marL="0" indent="0" algn="r">
              <a:buNone/>
              <a:defRPr sz="2400" b="1">
                <a:solidFill>
                  <a:schemeClr val="accent1"/>
                </a:solidFill>
              </a:defRPr>
            </a:lvl6pPr>
            <a:lvl7pPr marL="0" indent="0" algn="r">
              <a:buNone/>
              <a:defRPr sz="2400" b="1">
                <a:solidFill>
                  <a:schemeClr val="accent1"/>
                </a:solidFill>
              </a:defRPr>
            </a:lvl7pPr>
            <a:lvl8pPr marL="0" indent="0" algn="r">
              <a:buNone/>
              <a:defRPr sz="2400" b="1">
                <a:solidFill>
                  <a:schemeClr val="accent1"/>
                </a:solidFill>
              </a:defRPr>
            </a:lvl8pPr>
            <a:lvl9pPr marL="0" indent="0" algn="r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3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/>
          <p:cNvSpPr/>
          <p:nvPr/>
        </p:nvSpPr>
        <p:spPr bwMode="ltGray">
          <a:xfrm>
            <a:off x="0" y="0"/>
            <a:ext cx="2104575" cy="6858000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648351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58000">
                <a:moveTo>
                  <a:pt x="0" y="0"/>
                </a:moveTo>
                <a:lnTo>
                  <a:pt x="2104575" y="0"/>
                </a:lnTo>
                <a:lnTo>
                  <a:pt x="64835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grpSp>
        <p:nvGrpSpPr>
          <p:cNvPr id="37" name="Group 219"/>
          <p:cNvGrpSpPr>
            <a:grpSpLocks noChangeAspect="1"/>
          </p:cNvGrpSpPr>
          <p:nvPr/>
        </p:nvGrpSpPr>
        <p:grpSpPr bwMode="gray">
          <a:xfrm>
            <a:off x="197700" y="617323"/>
            <a:ext cx="395248" cy="396000"/>
            <a:chOff x="6936" y="180"/>
            <a:chExt cx="526" cy="527"/>
          </a:xfrm>
          <a:solidFill>
            <a:schemeClr val="bg1"/>
          </a:solidFill>
        </p:grpSpPr>
        <p:sp>
          <p:nvSpPr>
            <p:cNvPr id="38" name="Freeform 220"/>
            <p:cNvSpPr>
              <a:spLocks/>
            </p:cNvSpPr>
            <p:nvPr/>
          </p:nvSpPr>
          <p:spPr bwMode="gray">
            <a:xfrm>
              <a:off x="7156" y="407"/>
              <a:ext cx="89" cy="70"/>
            </a:xfrm>
            <a:custGeom>
              <a:avLst/>
              <a:gdLst>
                <a:gd name="T0" fmla="*/ 67 w 89"/>
                <a:gd name="T1" fmla="*/ 0 h 70"/>
                <a:gd name="T2" fmla="*/ 89 w 89"/>
                <a:gd name="T3" fmla="*/ 0 h 70"/>
                <a:gd name="T4" fmla="*/ 53 w 89"/>
                <a:gd name="T5" fmla="*/ 46 h 70"/>
                <a:gd name="T6" fmla="*/ 53 w 89"/>
                <a:gd name="T7" fmla="*/ 70 h 70"/>
                <a:gd name="T8" fmla="*/ 36 w 89"/>
                <a:gd name="T9" fmla="*/ 70 h 70"/>
                <a:gd name="T10" fmla="*/ 36 w 89"/>
                <a:gd name="T11" fmla="*/ 46 h 70"/>
                <a:gd name="T12" fmla="*/ 0 w 89"/>
                <a:gd name="T13" fmla="*/ 0 h 70"/>
                <a:gd name="T14" fmla="*/ 19 w 89"/>
                <a:gd name="T15" fmla="*/ 0 h 70"/>
                <a:gd name="T16" fmla="*/ 43 w 89"/>
                <a:gd name="T17" fmla="*/ 34 h 70"/>
                <a:gd name="T18" fmla="*/ 67 w 89"/>
                <a:gd name="T19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70">
                  <a:moveTo>
                    <a:pt x="67" y="0"/>
                  </a:moveTo>
                  <a:lnTo>
                    <a:pt x="89" y="0"/>
                  </a:lnTo>
                  <a:lnTo>
                    <a:pt x="53" y="46"/>
                  </a:lnTo>
                  <a:lnTo>
                    <a:pt x="53" y="70"/>
                  </a:lnTo>
                  <a:lnTo>
                    <a:pt x="36" y="70"/>
                  </a:lnTo>
                  <a:lnTo>
                    <a:pt x="36" y="4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43" y="34"/>
                  </a:ln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221"/>
            <p:cNvSpPr>
              <a:spLocks/>
            </p:cNvSpPr>
            <p:nvPr/>
          </p:nvSpPr>
          <p:spPr bwMode="gray">
            <a:xfrm>
              <a:off x="7254" y="407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9 h 70"/>
                <a:gd name="T8" fmla="*/ 62 w 65"/>
                <a:gd name="T9" fmla="*/ 29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6 h 70"/>
                <a:gd name="T16" fmla="*/ 65 w 65"/>
                <a:gd name="T17" fmla="*/ 56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62" y="29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65" y="56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22"/>
            <p:cNvSpPr>
              <a:spLocks/>
            </p:cNvSpPr>
            <p:nvPr/>
          </p:nvSpPr>
          <p:spPr bwMode="gray">
            <a:xfrm>
              <a:off x="7168" y="496"/>
              <a:ext cx="65" cy="70"/>
            </a:xfrm>
            <a:custGeom>
              <a:avLst/>
              <a:gdLst>
                <a:gd name="T0" fmla="*/ 65 w 65"/>
                <a:gd name="T1" fmla="*/ 0 h 70"/>
                <a:gd name="T2" fmla="*/ 65 w 65"/>
                <a:gd name="T3" fmla="*/ 15 h 70"/>
                <a:gd name="T4" fmla="*/ 17 w 65"/>
                <a:gd name="T5" fmla="*/ 15 h 70"/>
                <a:gd name="T6" fmla="*/ 17 w 65"/>
                <a:gd name="T7" fmla="*/ 27 h 70"/>
                <a:gd name="T8" fmla="*/ 62 w 65"/>
                <a:gd name="T9" fmla="*/ 27 h 70"/>
                <a:gd name="T10" fmla="*/ 62 w 65"/>
                <a:gd name="T11" fmla="*/ 41 h 70"/>
                <a:gd name="T12" fmla="*/ 17 w 65"/>
                <a:gd name="T13" fmla="*/ 41 h 70"/>
                <a:gd name="T14" fmla="*/ 17 w 65"/>
                <a:gd name="T15" fmla="*/ 55 h 70"/>
                <a:gd name="T16" fmla="*/ 65 w 65"/>
                <a:gd name="T17" fmla="*/ 55 h 70"/>
                <a:gd name="T18" fmla="*/ 65 w 65"/>
                <a:gd name="T19" fmla="*/ 70 h 70"/>
                <a:gd name="T20" fmla="*/ 0 w 65"/>
                <a:gd name="T21" fmla="*/ 70 h 70"/>
                <a:gd name="T22" fmla="*/ 0 w 65"/>
                <a:gd name="T23" fmla="*/ 0 h 70"/>
                <a:gd name="T24" fmla="*/ 65 w 65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70">
                  <a:moveTo>
                    <a:pt x="65" y="0"/>
                  </a:moveTo>
                  <a:lnTo>
                    <a:pt x="6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62" y="27"/>
                  </a:lnTo>
                  <a:lnTo>
                    <a:pt x="62" y="41"/>
                  </a:lnTo>
                  <a:lnTo>
                    <a:pt x="17" y="41"/>
                  </a:lnTo>
                  <a:lnTo>
                    <a:pt x="17" y="55"/>
                  </a:lnTo>
                  <a:lnTo>
                    <a:pt x="65" y="55"/>
                  </a:lnTo>
                  <a:lnTo>
                    <a:pt x="65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23"/>
            <p:cNvSpPr>
              <a:spLocks noEditPoints="1"/>
            </p:cNvSpPr>
            <p:nvPr/>
          </p:nvSpPr>
          <p:spPr bwMode="gray">
            <a:xfrm>
              <a:off x="7343" y="407"/>
              <a:ext cx="69" cy="70"/>
            </a:xfrm>
            <a:custGeom>
              <a:avLst/>
              <a:gdLst>
                <a:gd name="T0" fmla="*/ 16 w 69"/>
                <a:gd name="T1" fmla="*/ 29 h 70"/>
                <a:gd name="T2" fmla="*/ 43 w 69"/>
                <a:gd name="T3" fmla="*/ 29 h 70"/>
                <a:gd name="T4" fmla="*/ 43 w 69"/>
                <a:gd name="T5" fmla="*/ 29 h 70"/>
                <a:gd name="T6" fmla="*/ 45 w 69"/>
                <a:gd name="T7" fmla="*/ 29 h 70"/>
                <a:gd name="T8" fmla="*/ 45 w 69"/>
                <a:gd name="T9" fmla="*/ 29 h 70"/>
                <a:gd name="T10" fmla="*/ 48 w 69"/>
                <a:gd name="T11" fmla="*/ 29 h 70"/>
                <a:gd name="T12" fmla="*/ 48 w 69"/>
                <a:gd name="T13" fmla="*/ 27 h 70"/>
                <a:gd name="T14" fmla="*/ 48 w 69"/>
                <a:gd name="T15" fmla="*/ 27 h 70"/>
                <a:gd name="T16" fmla="*/ 48 w 69"/>
                <a:gd name="T17" fmla="*/ 27 h 70"/>
                <a:gd name="T18" fmla="*/ 50 w 69"/>
                <a:gd name="T19" fmla="*/ 24 h 70"/>
                <a:gd name="T20" fmla="*/ 50 w 69"/>
                <a:gd name="T21" fmla="*/ 24 h 70"/>
                <a:gd name="T22" fmla="*/ 50 w 69"/>
                <a:gd name="T23" fmla="*/ 22 h 70"/>
                <a:gd name="T24" fmla="*/ 50 w 69"/>
                <a:gd name="T25" fmla="*/ 22 h 70"/>
                <a:gd name="T26" fmla="*/ 50 w 69"/>
                <a:gd name="T27" fmla="*/ 20 h 70"/>
                <a:gd name="T28" fmla="*/ 48 w 69"/>
                <a:gd name="T29" fmla="*/ 20 h 70"/>
                <a:gd name="T30" fmla="*/ 48 w 69"/>
                <a:gd name="T31" fmla="*/ 17 h 70"/>
                <a:gd name="T32" fmla="*/ 48 w 69"/>
                <a:gd name="T33" fmla="*/ 17 h 70"/>
                <a:gd name="T34" fmla="*/ 48 w 69"/>
                <a:gd name="T35" fmla="*/ 17 h 70"/>
                <a:gd name="T36" fmla="*/ 45 w 69"/>
                <a:gd name="T37" fmla="*/ 15 h 70"/>
                <a:gd name="T38" fmla="*/ 45 w 69"/>
                <a:gd name="T39" fmla="*/ 15 h 70"/>
                <a:gd name="T40" fmla="*/ 43 w 69"/>
                <a:gd name="T41" fmla="*/ 15 h 70"/>
                <a:gd name="T42" fmla="*/ 43 w 69"/>
                <a:gd name="T43" fmla="*/ 15 h 70"/>
                <a:gd name="T44" fmla="*/ 43 w 69"/>
                <a:gd name="T45" fmla="*/ 15 h 70"/>
                <a:gd name="T46" fmla="*/ 16 w 69"/>
                <a:gd name="T47" fmla="*/ 70 h 70"/>
                <a:gd name="T48" fmla="*/ 43 w 69"/>
                <a:gd name="T49" fmla="*/ 0 h 70"/>
                <a:gd name="T50" fmla="*/ 48 w 69"/>
                <a:gd name="T51" fmla="*/ 0 h 70"/>
                <a:gd name="T52" fmla="*/ 50 w 69"/>
                <a:gd name="T53" fmla="*/ 0 h 70"/>
                <a:gd name="T54" fmla="*/ 52 w 69"/>
                <a:gd name="T55" fmla="*/ 3 h 70"/>
                <a:gd name="T56" fmla="*/ 55 w 69"/>
                <a:gd name="T57" fmla="*/ 5 h 70"/>
                <a:gd name="T58" fmla="*/ 57 w 69"/>
                <a:gd name="T59" fmla="*/ 5 h 70"/>
                <a:gd name="T60" fmla="*/ 60 w 69"/>
                <a:gd name="T61" fmla="*/ 8 h 70"/>
                <a:gd name="T62" fmla="*/ 62 w 69"/>
                <a:gd name="T63" fmla="*/ 10 h 70"/>
                <a:gd name="T64" fmla="*/ 64 w 69"/>
                <a:gd name="T65" fmla="*/ 15 h 70"/>
                <a:gd name="T66" fmla="*/ 64 w 69"/>
                <a:gd name="T67" fmla="*/ 17 h 70"/>
                <a:gd name="T68" fmla="*/ 64 w 69"/>
                <a:gd name="T69" fmla="*/ 20 h 70"/>
                <a:gd name="T70" fmla="*/ 64 w 69"/>
                <a:gd name="T71" fmla="*/ 24 h 70"/>
                <a:gd name="T72" fmla="*/ 64 w 69"/>
                <a:gd name="T73" fmla="*/ 27 h 70"/>
                <a:gd name="T74" fmla="*/ 64 w 69"/>
                <a:gd name="T75" fmla="*/ 29 h 70"/>
                <a:gd name="T76" fmla="*/ 64 w 69"/>
                <a:gd name="T77" fmla="*/ 32 h 70"/>
                <a:gd name="T78" fmla="*/ 62 w 69"/>
                <a:gd name="T79" fmla="*/ 34 h 70"/>
                <a:gd name="T80" fmla="*/ 60 w 69"/>
                <a:gd name="T81" fmla="*/ 36 h 70"/>
                <a:gd name="T82" fmla="*/ 60 w 69"/>
                <a:gd name="T83" fmla="*/ 36 h 70"/>
                <a:gd name="T84" fmla="*/ 57 w 69"/>
                <a:gd name="T85" fmla="*/ 39 h 70"/>
                <a:gd name="T86" fmla="*/ 55 w 69"/>
                <a:gd name="T87" fmla="*/ 41 h 70"/>
                <a:gd name="T88" fmla="*/ 52 w 69"/>
                <a:gd name="T89" fmla="*/ 41 h 70"/>
                <a:gd name="T90" fmla="*/ 50 w 69"/>
                <a:gd name="T91" fmla="*/ 44 h 70"/>
                <a:gd name="T92" fmla="*/ 50 w 69"/>
                <a:gd name="T9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9" h="70">
                  <a:moveTo>
                    <a:pt x="43" y="15"/>
                  </a:moveTo>
                  <a:lnTo>
                    <a:pt x="16" y="15"/>
                  </a:lnTo>
                  <a:lnTo>
                    <a:pt x="16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31" y="44"/>
                  </a:moveTo>
                  <a:lnTo>
                    <a:pt x="16" y="44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69" y="70"/>
                  </a:lnTo>
                  <a:lnTo>
                    <a:pt x="50" y="70"/>
                  </a:lnTo>
                  <a:lnTo>
                    <a:pt x="31" y="44"/>
                  </a:ln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224"/>
            <p:cNvSpPr>
              <a:spLocks noEditPoints="1"/>
            </p:cNvSpPr>
            <p:nvPr/>
          </p:nvSpPr>
          <p:spPr bwMode="gray">
            <a:xfrm>
              <a:off x="7168" y="587"/>
              <a:ext cx="77" cy="70"/>
            </a:xfrm>
            <a:custGeom>
              <a:avLst/>
              <a:gdLst>
                <a:gd name="T0" fmla="*/ 48 w 77"/>
                <a:gd name="T1" fmla="*/ 0 h 70"/>
                <a:gd name="T2" fmla="*/ 50 w 77"/>
                <a:gd name="T3" fmla="*/ 0 h 70"/>
                <a:gd name="T4" fmla="*/ 53 w 77"/>
                <a:gd name="T5" fmla="*/ 0 h 70"/>
                <a:gd name="T6" fmla="*/ 55 w 77"/>
                <a:gd name="T7" fmla="*/ 3 h 70"/>
                <a:gd name="T8" fmla="*/ 60 w 77"/>
                <a:gd name="T9" fmla="*/ 3 h 70"/>
                <a:gd name="T10" fmla="*/ 62 w 77"/>
                <a:gd name="T11" fmla="*/ 5 h 70"/>
                <a:gd name="T12" fmla="*/ 65 w 77"/>
                <a:gd name="T13" fmla="*/ 7 h 70"/>
                <a:gd name="T14" fmla="*/ 65 w 77"/>
                <a:gd name="T15" fmla="*/ 10 h 70"/>
                <a:gd name="T16" fmla="*/ 67 w 77"/>
                <a:gd name="T17" fmla="*/ 12 h 70"/>
                <a:gd name="T18" fmla="*/ 67 w 77"/>
                <a:gd name="T19" fmla="*/ 15 h 70"/>
                <a:gd name="T20" fmla="*/ 69 w 77"/>
                <a:gd name="T21" fmla="*/ 19 h 70"/>
                <a:gd name="T22" fmla="*/ 69 w 77"/>
                <a:gd name="T23" fmla="*/ 22 h 70"/>
                <a:gd name="T24" fmla="*/ 69 w 77"/>
                <a:gd name="T25" fmla="*/ 24 h 70"/>
                <a:gd name="T26" fmla="*/ 67 w 77"/>
                <a:gd name="T27" fmla="*/ 27 h 70"/>
                <a:gd name="T28" fmla="*/ 67 w 77"/>
                <a:gd name="T29" fmla="*/ 29 h 70"/>
                <a:gd name="T30" fmla="*/ 67 w 77"/>
                <a:gd name="T31" fmla="*/ 31 h 70"/>
                <a:gd name="T32" fmla="*/ 65 w 77"/>
                <a:gd name="T33" fmla="*/ 34 h 70"/>
                <a:gd name="T34" fmla="*/ 62 w 77"/>
                <a:gd name="T35" fmla="*/ 36 h 70"/>
                <a:gd name="T36" fmla="*/ 62 w 77"/>
                <a:gd name="T37" fmla="*/ 36 h 70"/>
                <a:gd name="T38" fmla="*/ 60 w 77"/>
                <a:gd name="T39" fmla="*/ 39 h 70"/>
                <a:gd name="T40" fmla="*/ 57 w 77"/>
                <a:gd name="T41" fmla="*/ 41 h 70"/>
                <a:gd name="T42" fmla="*/ 55 w 77"/>
                <a:gd name="T43" fmla="*/ 41 h 70"/>
                <a:gd name="T44" fmla="*/ 57 w 77"/>
                <a:gd name="T45" fmla="*/ 70 h 70"/>
                <a:gd name="T46" fmla="*/ 17 w 77"/>
                <a:gd name="T47" fmla="*/ 70 h 70"/>
                <a:gd name="T48" fmla="*/ 53 w 77"/>
                <a:gd name="T49" fmla="*/ 22 h 70"/>
                <a:gd name="T50" fmla="*/ 53 w 77"/>
                <a:gd name="T51" fmla="*/ 19 h 70"/>
                <a:gd name="T52" fmla="*/ 53 w 77"/>
                <a:gd name="T53" fmla="*/ 19 h 70"/>
                <a:gd name="T54" fmla="*/ 53 w 77"/>
                <a:gd name="T55" fmla="*/ 19 h 70"/>
                <a:gd name="T56" fmla="*/ 53 w 77"/>
                <a:gd name="T57" fmla="*/ 17 h 70"/>
                <a:gd name="T58" fmla="*/ 50 w 77"/>
                <a:gd name="T59" fmla="*/ 17 h 70"/>
                <a:gd name="T60" fmla="*/ 50 w 77"/>
                <a:gd name="T61" fmla="*/ 15 h 70"/>
                <a:gd name="T62" fmla="*/ 50 w 77"/>
                <a:gd name="T63" fmla="*/ 15 h 70"/>
                <a:gd name="T64" fmla="*/ 48 w 77"/>
                <a:gd name="T65" fmla="*/ 15 h 70"/>
                <a:gd name="T66" fmla="*/ 48 w 77"/>
                <a:gd name="T67" fmla="*/ 15 h 70"/>
                <a:gd name="T68" fmla="*/ 45 w 77"/>
                <a:gd name="T69" fmla="*/ 15 h 70"/>
                <a:gd name="T70" fmla="*/ 17 w 77"/>
                <a:gd name="T71" fmla="*/ 15 h 70"/>
                <a:gd name="T72" fmla="*/ 45 w 77"/>
                <a:gd name="T73" fmla="*/ 29 h 70"/>
                <a:gd name="T74" fmla="*/ 48 w 77"/>
                <a:gd name="T75" fmla="*/ 29 h 70"/>
                <a:gd name="T76" fmla="*/ 48 w 77"/>
                <a:gd name="T77" fmla="*/ 29 h 70"/>
                <a:gd name="T78" fmla="*/ 48 w 77"/>
                <a:gd name="T79" fmla="*/ 29 h 70"/>
                <a:gd name="T80" fmla="*/ 50 w 77"/>
                <a:gd name="T81" fmla="*/ 27 h 70"/>
                <a:gd name="T82" fmla="*/ 50 w 77"/>
                <a:gd name="T83" fmla="*/ 27 h 70"/>
                <a:gd name="T84" fmla="*/ 50 w 77"/>
                <a:gd name="T85" fmla="*/ 27 h 70"/>
                <a:gd name="T86" fmla="*/ 53 w 77"/>
                <a:gd name="T87" fmla="*/ 24 h 70"/>
                <a:gd name="T88" fmla="*/ 53 w 77"/>
                <a:gd name="T89" fmla="*/ 24 h 70"/>
                <a:gd name="T90" fmla="*/ 53 w 77"/>
                <a:gd name="T91" fmla="*/ 22 h 70"/>
                <a:gd name="T92" fmla="*/ 53 w 77"/>
                <a:gd name="T93" fmla="*/ 2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0">
                  <a:moveTo>
                    <a:pt x="0" y="70"/>
                  </a:move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7" y="39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77" y="70"/>
                  </a:lnTo>
                  <a:lnTo>
                    <a:pt x="57" y="70"/>
                  </a:lnTo>
                  <a:lnTo>
                    <a:pt x="36" y="43"/>
                  </a:lnTo>
                  <a:lnTo>
                    <a:pt x="17" y="43"/>
                  </a:lnTo>
                  <a:lnTo>
                    <a:pt x="17" y="70"/>
                  </a:lnTo>
                  <a:lnTo>
                    <a:pt x="0" y="70"/>
                  </a:lnTo>
                  <a:lnTo>
                    <a:pt x="0" y="70"/>
                  </a:lnTo>
                  <a:close/>
                  <a:moveTo>
                    <a:pt x="53" y="22"/>
                  </a:moveTo>
                  <a:lnTo>
                    <a:pt x="53" y="22"/>
                  </a:lnTo>
                  <a:lnTo>
                    <a:pt x="53" y="22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3" y="27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225"/>
            <p:cNvSpPr>
              <a:spLocks noEditPoints="1"/>
            </p:cNvSpPr>
            <p:nvPr/>
          </p:nvSpPr>
          <p:spPr bwMode="gray">
            <a:xfrm>
              <a:off x="7075" y="407"/>
              <a:ext cx="86" cy="70"/>
            </a:xfrm>
            <a:custGeom>
              <a:avLst/>
              <a:gdLst>
                <a:gd name="T0" fmla="*/ 43 w 86"/>
                <a:gd name="T1" fmla="*/ 17 h 70"/>
                <a:gd name="T2" fmla="*/ 28 w 86"/>
                <a:gd name="T3" fmla="*/ 46 h 70"/>
                <a:gd name="T4" fmla="*/ 57 w 86"/>
                <a:gd name="T5" fmla="*/ 46 h 70"/>
                <a:gd name="T6" fmla="*/ 43 w 86"/>
                <a:gd name="T7" fmla="*/ 17 h 70"/>
                <a:gd name="T8" fmla="*/ 43 w 86"/>
                <a:gd name="T9" fmla="*/ 17 h 70"/>
                <a:gd name="T10" fmla="*/ 86 w 86"/>
                <a:gd name="T11" fmla="*/ 70 h 70"/>
                <a:gd name="T12" fmla="*/ 69 w 86"/>
                <a:gd name="T13" fmla="*/ 70 h 70"/>
                <a:gd name="T14" fmla="*/ 62 w 86"/>
                <a:gd name="T15" fmla="*/ 58 h 70"/>
                <a:gd name="T16" fmla="*/ 21 w 86"/>
                <a:gd name="T17" fmla="*/ 58 h 70"/>
                <a:gd name="T18" fmla="*/ 16 w 86"/>
                <a:gd name="T19" fmla="*/ 70 h 70"/>
                <a:gd name="T20" fmla="*/ 0 w 86"/>
                <a:gd name="T21" fmla="*/ 70 h 70"/>
                <a:gd name="T22" fmla="*/ 33 w 86"/>
                <a:gd name="T23" fmla="*/ 0 h 70"/>
                <a:gd name="T24" fmla="*/ 50 w 86"/>
                <a:gd name="T25" fmla="*/ 0 h 70"/>
                <a:gd name="T26" fmla="*/ 86 w 86"/>
                <a:gd name="T27" fmla="*/ 70 h 70"/>
                <a:gd name="T28" fmla="*/ 86 w 86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70">
                  <a:moveTo>
                    <a:pt x="43" y="17"/>
                  </a:moveTo>
                  <a:lnTo>
                    <a:pt x="28" y="46"/>
                  </a:lnTo>
                  <a:lnTo>
                    <a:pt x="57" y="46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70"/>
                  </a:moveTo>
                  <a:lnTo>
                    <a:pt x="69" y="70"/>
                  </a:lnTo>
                  <a:lnTo>
                    <a:pt x="62" y="58"/>
                  </a:lnTo>
                  <a:lnTo>
                    <a:pt x="21" y="58"/>
                  </a:lnTo>
                  <a:lnTo>
                    <a:pt x="16" y="70"/>
                  </a:lnTo>
                  <a:lnTo>
                    <a:pt x="0" y="70"/>
                  </a:lnTo>
                  <a:lnTo>
                    <a:pt x="33" y="0"/>
                  </a:lnTo>
                  <a:lnTo>
                    <a:pt x="50" y="0"/>
                  </a:lnTo>
                  <a:lnTo>
                    <a:pt x="86" y="70"/>
                  </a:lnTo>
                  <a:lnTo>
                    <a:pt x="8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226"/>
            <p:cNvSpPr>
              <a:spLocks noEditPoints="1"/>
            </p:cNvSpPr>
            <p:nvPr/>
          </p:nvSpPr>
          <p:spPr bwMode="gray">
            <a:xfrm>
              <a:off x="7156" y="319"/>
              <a:ext cx="86" cy="69"/>
            </a:xfrm>
            <a:custGeom>
              <a:avLst/>
              <a:gdLst>
                <a:gd name="T0" fmla="*/ 43 w 86"/>
                <a:gd name="T1" fmla="*/ 17 h 69"/>
                <a:gd name="T2" fmla="*/ 29 w 86"/>
                <a:gd name="T3" fmla="*/ 43 h 69"/>
                <a:gd name="T4" fmla="*/ 57 w 86"/>
                <a:gd name="T5" fmla="*/ 43 h 69"/>
                <a:gd name="T6" fmla="*/ 43 w 86"/>
                <a:gd name="T7" fmla="*/ 17 h 69"/>
                <a:gd name="T8" fmla="*/ 43 w 86"/>
                <a:gd name="T9" fmla="*/ 17 h 69"/>
                <a:gd name="T10" fmla="*/ 86 w 86"/>
                <a:gd name="T11" fmla="*/ 69 h 69"/>
                <a:gd name="T12" fmla="*/ 69 w 86"/>
                <a:gd name="T13" fmla="*/ 69 h 69"/>
                <a:gd name="T14" fmla="*/ 65 w 86"/>
                <a:gd name="T15" fmla="*/ 57 h 69"/>
                <a:gd name="T16" fmla="*/ 24 w 86"/>
                <a:gd name="T17" fmla="*/ 57 h 69"/>
                <a:gd name="T18" fmla="*/ 17 w 86"/>
                <a:gd name="T19" fmla="*/ 69 h 69"/>
                <a:gd name="T20" fmla="*/ 0 w 86"/>
                <a:gd name="T21" fmla="*/ 69 h 69"/>
                <a:gd name="T22" fmla="*/ 36 w 86"/>
                <a:gd name="T23" fmla="*/ 0 h 69"/>
                <a:gd name="T24" fmla="*/ 53 w 86"/>
                <a:gd name="T25" fmla="*/ 0 h 69"/>
                <a:gd name="T26" fmla="*/ 86 w 86"/>
                <a:gd name="T27" fmla="*/ 69 h 69"/>
                <a:gd name="T28" fmla="*/ 86 w 8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69">
                  <a:moveTo>
                    <a:pt x="43" y="17"/>
                  </a:moveTo>
                  <a:lnTo>
                    <a:pt x="29" y="43"/>
                  </a:lnTo>
                  <a:lnTo>
                    <a:pt x="57" y="43"/>
                  </a:lnTo>
                  <a:lnTo>
                    <a:pt x="43" y="17"/>
                  </a:lnTo>
                  <a:lnTo>
                    <a:pt x="43" y="17"/>
                  </a:lnTo>
                  <a:close/>
                  <a:moveTo>
                    <a:pt x="86" y="69"/>
                  </a:moveTo>
                  <a:lnTo>
                    <a:pt x="69" y="69"/>
                  </a:lnTo>
                  <a:lnTo>
                    <a:pt x="65" y="57"/>
                  </a:lnTo>
                  <a:lnTo>
                    <a:pt x="24" y="57"/>
                  </a:lnTo>
                  <a:lnTo>
                    <a:pt x="17" y="69"/>
                  </a:lnTo>
                  <a:lnTo>
                    <a:pt x="0" y="69"/>
                  </a:lnTo>
                  <a:lnTo>
                    <a:pt x="36" y="0"/>
                  </a:lnTo>
                  <a:lnTo>
                    <a:pt x="53" y="0"/>
                  </a:lnTo>
                  <a:lnTo>
                    <a:pt x="86" y="69"/>
                  </a:lnTo>
                  <a:lnTo>
                    <a:pt x="86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227"/>
            <p:cNvSpPr>
              <a:spLocks noEditPoints="1"/>
            </p:cNvSpPr>
            <p:nvPr/>
          </p:nvSpPr>
          <p:spPr bwMode="gray">
            <a:xfrm>
              <a:off x="6991" y="407"/>
              <a:ext cx="69" cy="70"/>
            </a:xfrm>
            <a:custGeom>
              <a:avLst/>
              <a:gdLst>
                <a:gd name="T0" fmla="*/ 65 w 69"/>
                <a:gd name="T1" fmla="*/ 36 h 70"/>
                <a:gd name="T2" fmla="*/ 67 w 69"/>
                <a:gd name="T3" fmla="*/ 39 h 70"/>
                <a:gd name="T4" fmla="*/ 69 w 69"/>
                <a:gd name="T5" fmla="*/ 44 h 70"/>
                <a:gd name="T6" fmla="*/ 69 w 69"/>
                <a:gd name="T7" fmla="*/ 46 h 70"/>
                <a:gd name="T8" fmla="*/ 69 w 69"/>
                <a:gd name="T9" fmla="*/ 48 h 70"/>
                <a:gd name="T10" fmla="*/ 69 w 69"/>
                <a:gd name="T11" fmla="*/ 51 h 70"/>
                <a:gd name="T12" fmla="*/ 69 w 69"/>
                <a:gd name="T13" fmla="*/ 56 h 70"/>
                <a:gd name="T14" fmla="*/ 69 w 69"/>
                <a:gd name="T15" fmla="*/ 58 h 70"/>
                <a:gd name="T16" fmla="*/ 67 w 69"/>
                <a:gd name="T17" fmla="*/ 63 h 70"/>
                <a:gd name="T18" fmla="*/ 65 w 69"/>
                <a:gd name="T19" fmla="*/ 65 h 70"/>
                <a:gd name="T20" fmla="*/ 60 w 69"/>
                <a:gd name="T21" fmla="*/ 68 h 70"/>
                <a:gd name="T22" fmla="*/ 55 w 69"/>
                <a:gd name="T23" fmla="*/ 70 h 70"/>
                <a:gd name="T24" fmla="*/ 53 w 69"/>
                <a:gd name="T25" fmla="*/ 70 h 70"/>
                <a:gd name="T26" fmla="*/ 0 w 69"/>
                <a:gd name="T27" fmla="*/ 70 h 70"/>
                <a:gd name="T28" fmla="*/ 50 w 69"/>
                <a:gd name="T29" fmla="*/ 0 h 70"/>
                <a:gd name="T30" fmla="*/ 53 w 69"/>
                <a:gd name="T31" fmla="*/ 0 h 70"/>
                <a:gd name="T32" fmla="*/ 57 w 69"/>
                <a:gd name="T33" fmla="*/ 3 h 70"/>
                <a:gd name="T34" fmla="*/ 60 w 69"/>
                <a:gd name="T35" fmla="*/ 5 h 70"/>
                <a:gd name="T36" fmla="*/ 62 w 69"/>
                <a:gd name="T37" fmla="*/ 8 h 70"/>
                <a:gd name="T38" fmla="*/ 65 w 69"/>
                <a:gd name="T39" fmla="*/ 12 h 70"/>
                <a:gd name="T40" fmla="*/ 67 w 69"/>
                <a:gd name="T41" fmla="*/ 15 h 70"/>
                <a:gd name="T42" fmla="*/ 67 w 69"/>
                <a:gd name="T43" fmla="*/ 20 h 70"/>
                <a:gd name="T44" fmla="*/ 67 w 69"/>
                <a:gd name="T45" fmla="*/ 22 h 70"/>
                <a:gd name="T46" fmla="*/ 67 w 69"/>
                <a:gd name="T47" fmla="*/ 27 h 70"/>
                <a:gd name="T48" fmla="*/ 67 w 69"/>
                <a:gd name="T49" fmla="*/ 29 h 70"/>
                <a:gd name="T50" fmla="*/ 65 w 69"/>
                <a:gd name="T51" fmla="*/ 34 h 70"/>
                <a:gd name="T52" fmla="*/ 17 w 69"/>
                <a:gd name="T53" fmla="*/ 58 h 70"/>
                <a:gd name="T54" fmla="*/ 48 w 69"/>
                <a:gd name="T55" fmla="*/ 58 h 70"/>
                <a:gd name="T56" fmla="*/ 50 w 69"/>
                <a:gd name="T57" fmla="*/ 56 h 70"/>
                <a:gd name="T58" fmla="*/ 50 w 69"/>
                <a:gd name="T59" fmla="*/ 56 h 70"/>
                <a:gd name="T60" fmla="*/ 53 w 69"/>
                <a:gd name="T61" fmla="*/ 56 h 70"/>
                <a:gd name="T62" fmla="*/ 53 w 69"/>
                <a:gd name="T63" fmla="*/ 53 h 70"/>
                <a:gd name="T64" fmla="*/ 53 w 69"/>
                <a:gd name="T65" fmla="*/ 53 h 70"/>
                <a:gd name="T66" fmla="*/ 55 w 69"/>
                <a:gd name="T67" fmla="*/ 51 h 70"/>
                <a:gd name="T68" fmla="*/ 55 w 69"/>
                <a:gd name="T69" fmla="*/ 48 h 70"/>
                <a:gd name="T70" fmla="*/ 55 w 69"/>
                <a:gd name="T71" fmla="*/ 48 h 70"/>
                <a:gd name="T72" fmla="*/ 55 w 69"/>
                <a:gd name="T73" fmla="*/ 46 h 70"/>
                <a:gd name="T74" fmla="*/ 53 w 69"/>
                <a:gd name="T75" fmla="*/ 46 h 70"/>
                <a:gd name="T76" fmla="*/ 53 w 69"/>
                <a:gd name="T77" fmla="*/ 44 h 70"/>
                <a:gd name="T78" fmla="*/ 50 w 69"/>
                <a:gd name="T79" fmla="*/ 44 h 70"/>
                <a:gd name="T80" fmla="*/ 50 w 69"/>
                <a:gd name="T81" fmla="*/ 41 h 70"/>
                <a:gd name="T82" fmla="*/ 48 w 69"/>
                <a:gd name="T83" fmla="*/ 41 h 70"/>
                <a:gd name="T84" fmla="*/ 48 w 69"/>
                <a:gd name="T85" fmla="*/ 41 h 70"/>
                <a:gd name="T86" fmla="*/ 17 w 69"/>
                <a:gd name="T87" fmla="*/ 58 h 70"/>
                <a:gd name="T88" fmla="*/ 45 w 69"/>
                <a:gd name="T89" fmla="*/ 29 h 70"/>
                <a:gd name="T90" fmla="*/ 48 w 69"/>
                <a:gd name="T91" fmla="*/ 27 h 70"/>
                <a:gd name="T92" fmla="*/ 50 w 69"/>
                <a:gd name="T93" fmla="*/ 27 h 70"/>
                <a:gd name="T94" fmla="*/ 53 w 69"/>
                <a:gd name="T95" fmla="*/ 24 h 70"/>
                <a:gd name="T96" fmla="*/ 53 w 69"/>
                <a:gd name="T97" fmla="*/ 22 h 70"/>
                <a:gd name="T98" fmla="*/ 53 w 69"/>
                <a:gd name="T99" fmla="*/ 22 h 70"/>
                <a:gd name="T100" fmla="*/ 53 w 69"/>
                <a:gd name="T101" fmla="*/ 20 h 70"/>
                <a:gd name="T102" fmla="*/ 50 w 69"/>
                <a:gd name="T103" fmla="*/ 17 h 70"/>
                <a:gd name="T104" fmla="*/ 50 w 69"/>
                <a:gd name="T105" fmla="*/ 15 h 70"/>
                <a:gd name="T106" fmla="*/ 48 w 69"/>
                <a:gd name="T107" fmla="*/ 15 h 70"/>
                <a:gd name="T108" fmla="*/ 45 w 69"/>
                <a:gd name="T109" fmla="*/ 15 h 70"/>
                <a:gd name="T110" fmla="*/ 14 w 69"/>
                <a:gd name="T111" fmla="*/ 2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" h="70">
                  <a:moveTo>
                    <a:pt x="62" y="34"/>
                  </a:move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2" y="34"/>
                  </a:lnTo>
                  <a:lnTo>
                    <a:pt x="62" y="34"/>
                  </a:lnTo>
                  <a:close/>
                  <a:moveTo>
                    <a:pt x="17" y="58"/>
                  </a:moveTo>
                  <a:lnTo>
                    <a:pt x="45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5" y="41"/>
                  </a:lnTo>
                  <a:lnTo>
                    <a:pt x="17" y="41"/>
                  </a:lnTo>
                  <a:lnTo>
                    <a:pt x="17" y="58"/>
                  </a:lnTo>
                  <a:lnTo>
                    <a:pt x="17" y="58"/>
                  </a:lnTo>
                  <a:close/>
                  <a:moveTo>
                    <a:pt x="14" y="29"/>
                  </a:move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4" y="15"/>
                  </a:lnTo>
                  <a:lnTo>
                    <a:pt x="14" y="29"/>
                  </a:lnTo>
                  <a:lnTo>
                    <a:pt x="1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228"/>
            <p:cNvSpPr>
              <a:spLocks noEditPoints="1"/>
            </p:cNvSpPr>
            <p:nvPr/>
          </p:nvSpPr>
          <p:spPr bwMode="gray">
            <a:xfrm>
              <a:off x="7168" y="232"/>
              <a:ext cx="72" cy="70"/>
            </a:xfrm>
            <a:custGeom>
              <a:avLst/>
              <a:gdLst>
                <a:gd name="T0" fmla="*/ 67 w 72"/>
                <a:gd name="T1" fmla="*/ 36 h 70"/>
                <a:gd name="T2" fmla="*/ 69 w 72"/>
                <a:gd name="T3" fmla="*/ 39 h 70"/>
                <a:gd name="T4" fmla="*/ 69 w 72"/>
                <a:gd name="T5" fmla="*/ 41 h 70"/>
                <a:gd name="T6" fmla="*/ 72 w 72"/>
                <a:gd name="T7" fmla="*/ 44 h 70"/>
                <a:gd name="T8" fmla="*/ 72 w 72"/>
                <a:gd name="T9" fmla="*/ 46 h 70"/>
                <a:gd name="T10" fmla="*/ 72 w 72"/>
                <a:gd name="T11" fmla="*/ 51 h 70"/>
                <a:gd name="T12" fmla="*/ 69 w 72"/>
                <a:gd name="T13" fmla="*/ 53 h 70"/>
                <a:gd name="T14" fmla="*/ 69 w 72"/>
                <a:gd name="T15" fmla="*/ 58 h 70"/>
                <a:gd name="T16" fmla="*/ 67 w 72"/>
                <a:gd name="T17" fmla="*/ 60 h 70"/>
                <a:gd name="T18" fmla="*/ 65 w 72"/>
                <a:gd name="T19" fmla="*/ 65 h 70"/>
                <a:gd name="T20" fmla="*/ 60 w 72"/>
                <a:gd name="T21" fmla="*/ 68 h 70"/>
                <a:gd name="T22" fmla="*/ 57 w 72"/>
                <a:gd name="T23" fmla="*/ 68 h 70"/>
                <a:gd name="T24" fmla="*/ 53 w 72"/>
                <a:gd name="T25" fmla="*/ 70 h 70"/>
                <a:gd name="T26" fmla="*/ 0 w 72"/>
                <a:gd name="T27" fmla="*/ 70 h 70"/>
                <a:gd name="T28" fmla="*/ 50 w 72"/>
                <a:gd name="T29" fmla="*/ 0 h 70"/>
                <a:gd name="T30" fmla="*/ 55 w 72"/>
                <a:gd name="T31" fmla="*/ 0 h 70"/>
                <a:gd name="T32" fmla="*/ 57 w 72"/>
                <a:gd name="T33" fmla="*/ 3 h 70"/>
                <a:gd name="T34" fmla="*/ 60 w 72"/>
                <a:gd name="T35" fmla="*/ 5 h 70"/>
                <a:gd name="T36" fmla="*/ 65 w 72"/>
                <a:gd name="T37" fmla="*/ 8 h 70"/>
                <a:gd name="T38" fmla="*/ 67 w 72"/>
                <a:gd name="T39" fmla="*/ 10 h 70"/>
                <a:gd name="T40" fmla="*/ 67 w 72"/>
                <a:gd name="T41" fmla="*/ 15 h 70"/>
                <a:gd name="T42" fmla="*/ 69 w 72"/>
                <a:gd name="T43" fmla="*/ 17 h 70"/>
                <a:gd name="T44" fmla="*/ 69 w 72"/>
                <a:gd name="T45" fmla="*/ 22 h 70"/>
                <a:gd name="T46" fmla="*/ 67 w 72"/>
                <a:gd name="T47" fmla="*/ 24 h 70"/>
                <a:gd name="T48" fmla="*/ 67 w 72"/>
                <a:gd name="T49" fmla="*/ 29 h 70"/>
                <a:gd name="T50" fmla="*/ 65 w 72"/>
                <a:gd name="T51" fmla="*/ 32 h 70"/>
                <a:gd name="T52" fmla="*/ 17 w 72"/>
                <a:gd name="T53" fmla="*/ 56 h 70"/>
                <a:gd name="T54" fmla="*/ 48 w 72"/>
                <a:gd name="T55" fmla="*/ 56 h 70"/>
                <a:gd name="T56" fmla="*/ 50 w 72"/>
                <a:gd name="T57" fmla="*/ 56 h 70"/>
                <a:gd name="T58" fmla="*/ 50 w 72"/>
                <a:gd name="T59" fmla="*/ 56 h 70"/>
                <a:gd name="T60" fmla="*/ 53 w 72"/>
                <a:gd name="T61" fmla="*/ 53 h 70"/>
                <a:gd name="T62" fmla="*/ 53 w 72"/>
                <a:gd name="T63" fmla="*/ 53 h 70"/>
                <a:gd name="T64" fmla="*/ 55 w 72"/>
                <a:gd name="T65" fmla="*/ 51 h 70"/>
                <a:gd name="T66" fmla="*/ 55 w 72"/>
                <a:gd name="T67" fmla="*/ 51 h 70"/>
                <a:gd name="T68" fmla="*/ 55 w 72"/>
                <a:gd name="T69" fmla="*/ 48 h 70"/>
                <a:gd name="T70" fmla="*/ 55 w 72"/>
                <a:gd name="T71" fmla="*/ 46 h 70"/>
                <a:gd name="T72" fmla="*/ 55 w 72"/>
                <a:gd name="T73" fmla="*/ 46 h 70"/>
                <a:gd name="T74" fmla="*/ 55 w 72"/>
                <a:gd name="T75" fmla="*/ 44 h 70"/>
                <a:gd name="T76" fmla="*/ 53 w 72"/>
                <a:gd name="T77" fmla="*/ 44 h 70"/>
                <a:gd name="T78" fmla="*/ 53 w 72"/>
                <a:gd name="T79" fmla="*/ 41 h 70"/>
                <a:gd name="T80" fmla="*/ 50 w 72"/>
                <a:gd name="T81" fmla="*/ 41 h 70"/>
                <a:gd name="T82" fmla="*/ 50 w 72"/>
                <a:gd name="T83" fmla="*/ 41 h 70"/>
                <a:gd name="T84" fmla="*/ 48 w 72"/>
                <a:gd name="T85" fmla="*/ 41 h 70"/>
                <a:gd name="T86" fmla="*/ 17 w 72"/>
                <a:gd name="T87" fmla="*/ 56 h 70"/>
                <a:gd name="T88" fmla="*/ 45 w 72"/>
                <a:gd name="T89" fmla="*/ 27 h 70"/>
                <a:gd name="T90" fmla="*/ 48 w 72"/>
                <a:gd name="T91" fmla="*/ 27 h 70"/>
                <a:gd name="T92" fmla="*/ 50 w 72"/>
                <a:gd name="T93" fmla="*/ 24 h 70"/>
                <a:gd name="T94" fmla="*/ 53 w 72"/>
                <a:gd name="T95" fmla="*/ 24 h 70"/>
                <a:gd name="T96" fmla="*/ 53 w 72"/>
                <a:gd name="T97" fmla="*/ 22 h 70"/>
                <a:gd name="T98" fmla="*/ 53 w 72"/>
                <a:gd name="T99" fmla="*/ 20 h 70"/>
                <a:gd name="T100" fmla="*/ 53 w 72"/>
                <a:gd name="T101" fmla="*/ 20 h 70"/>
                <a:gd name="T102" fmla="*/ 50 w 72"/>
                <a:gd name="T103" fmla="*/ 17 h 70"/>
                <a:gd name="T104" fmla="*/ 50 w 72"/>
                <a:gd name="T105" fmla="*/ 15 h 70"/>
                <a:gd name="T106" fmla="*/ 48 w 72"/>
                <a:gd name="T107" fmla="*/ 15 h 70"/>
                <a:gd name="T108" fmla="*/ 45 w 72"/>
                <a:gd name="T109" fmla="*/ 15 h 70"/>
                <a:gd name="T110" fmla="*/ 17 w 72"/>
                <a:gd name="T111" fmla="*/ 2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" h="70">
                  <a:moveTo>
                    <a:pt x="65" y="34"/>
                  </a:moveTo>
                  <a:lnTo>
                    <a:pt x="65" y="34"/>
                  </a:lnTo>
                  <a:lnTo>
                    <a:pt x="65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3"/>
                  </a:lnTo>
                  <a:lnTo>
                    <a:pt x="69" y="53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0" y="70"/>
                  </a:lnTo>
                  <a:lnTo>
                    <a:pt x="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close/>
                  <a:moveTo>
                    <a:pt x="17" y="56"/>
                  </a:move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3" y="56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17" y="41"/>
                  </a:ln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7" y="27"/>
                  </a:move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17" y="15"/>
                  </a:lnTo>
                  <a:lnTo>
                    <a:pt x="17" y="27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229"/>
            <p:cNvSpPr>
              <a:spLocks noEditPoints="1"/>
            </p:cNvSpPr>
            <p:nvPr/>
          </p:nvSpPr>
          <p:spPr bwMode="gray">
            <a:xfrm>
              <a:off x="6936" y="180"/>
              <a:ext cx="526" cy="527"/>
            </a:xfrm>
            <a:custGeom>
              <a:avLst/>
              <a:gdLst>
                <a:gd name="T0" fmla="*/ 110 w 220"/>
                <a:gd name="T1" fmla="*/ 0 h 220"/>
                <a:gd name="T2" fmla="*/ 0 w 220"/>
                <a:gd name="T3" fmla="*/ 110 h 220"/>
                <a:gd name="T4" fmla="*/ 110 w 220"/>
                <a:gd name="T5" fmla="*/ 220 h 220"/>
                <a:gd name="T6" fmla="*/ 220 w 220"/>
                <a:gd name="T7" fmla="*/ 110 h 220"/>
                <a:gd name="T8" fmla="*/ 110 w 220"/>
                <a:gd name="T9" fmla="*/ 0 h 220"/>
                <a:gd name="T10" fmla="*/ 110 w 220"/>
                <a:gd name="T11" fmla="*/ 208 h 220"/>
                <a:gd name="T12" fmla="*/ 12 w 220"/>
                <a:gd name="T13" fmla="*/ 110 h 220"/>
                <a:gd name="T14" fmla="*/ 110 w 220"/>
                <a:gd name="T15" fmla="*/ 12 h 220"/>
                <a:gd name="T16" fmla="*/ 208 w 220"/>
                <a:gd name="T17" fmla="*/ 110 h 220"/>
                <a:gd name="T18" fmla="*/ 110 w 220"/>
                <a:gd name="T19" fmla="*/ 20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0"/>
                  </a:moveTo>
                  <a:cubicBezTo>
                    <a:pt x="49" y="0"/>
                    <a:pt x="0" y="49"/>
                    <a:pt x="0" y="110"/>
                  </a:cubicBezTo>
                  <a:cubicBezTo>
                    <a:pt x="0" y="171"/>
                    <a:pt x="49" y="220"/>
                    <a:pt x="110" y="220"/>
                  </a:cubicBezTo>
                  <a:cubicBezTo>
                    <a:pt x="171" y="220"/>
                    <a:pt x="220" y="171"/>
                    <a:pt x="220" y="110"/>
                  </a:cubicBezTo>
                  <a:cubicBezTo>
                    <a:pt x="220" y="49"/>
                    <a:pt x="171" y="0"/>
                    <a:pt x="110" y="0"/>
                  </a:cubicBezTo>
                  <a:close/>
                  <a:moveTo>
                    <a:pt x="110" y="208"/>
                  </a:moveTo>
                  <a:cubicBezTo>
                    <a:pt x="56" y="208"/>
                    <a:pt x="12" y="164"/>
                    <a:pt x="12" y="110"/>
                  </a:cubicBezTo>
                  <a:cubicBezTo>
                    <a:pt x="12" y="56"/>
                    <a:pt x="56" y="12"/>
                    <a:pt x="110" y="12"/>
                  </a:cubicBezTo>
                  <a:cubicBezTo>
                    <a:pt x="164" y="12"/>
                    <a:pt x="208" y="56"/>
                    <a:pt x="208" y="110"/>
                  </a:cubicBezTo>
                  <a:cubicBezTo>
                    <a:pt x="208" y="164"/>
                    <a:pt x="164" y="208"/>
                    <a:pt x="110" y="2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571" tIns="45785" rIns="91571" bIns="45785" numCol="1" anchor="t" anchorCtr="0" compatLnSpc="1">
              <a:prstTxWarp prst="textNoShape">
                <a:avLst/>
              </a:prstTxWarp>
            </a:bodyPr>
            <a:lstStyle/>
            <a:p>
              <a:pPr defTabSz="915680"/>
              <a:endParaRPr lang="en-US" sz="1803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082148" y="1462159"/>
            <a:ext cx="306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29EBD0C-8E8C-4C08-843E-8B7F1AA3F090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5669355" y="3064854"/>
            <a:ext cx="306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569881" y="1"/>
            <a:ext cx="3564649" cy="6858000"/>
            <a:chOff x="-13927138" y="-1074738"/>
            <a:chExt cx="4221469" cy="8121651"/>
          </a:xfrm>
          <a:solidFill>
            <a:schemeClr val="bg1"/>
          </a:solidFill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7"/>
            <p:cNvSpPr>
              <a:spLocks/>
            </p:cNvSpPr>
            <p:nvPr userDrawn="1"/>
          </p:nvSpPr>
          <p:spPr bwMode="black">
            <a:xfrm>
              <a:off x="-11315394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566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774720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0040C21-7DD8-426D-A719-EDCFE8B11E52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1732751"/>
            <a:ext cx="7747201" cy="475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794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1" y="1138299"/>
            <a:ext cx="774720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CF49EB6-F28A-4336-B589-5D9B808ED638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67" y="1732750"/>
            <a:ext cx="3693600" cy="475200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036856" y="1732750"/>
            <a:ext cx="3693600" cy="475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18" y="617155"/>
            <a:ext cx="399773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046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1821" y="1732751"/>
            <a:ext cx="77472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774720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076405" y="6617933"/>
            <a:ext cx="488951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7A8FD549-844E-4589-9027-B3C793105438}" type="datetime1">
              <a:rPr lang="en-US" smtClean="0"/>
              <a:t>3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81821" y="6617933"/>
            <a:ext cx="55880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6575" y="6617933"/>
            <a:ext cx="391593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62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  <p:sldLayoutId id="2147484120" r:id="rId15"/>
    <p:sldLayoutId id="2147484121" r:id="rId16"/>
    <p:sldLayoutId id="2147484122" r:id="rId17"/>
    <p:sldLayoutId id="2147484123" r:id="rId18"/>
    <p:sldLayoutId id="2147484124" r:id="rId19"/>
    <p:sldLayoutId id="2147484125" r:id="rId20"/>
    <p:sldLayoutId id="2147484126" r:id="rId21"/>
    <p:sldLayoutId id="2147484127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ysClr val="windowText" lastClr="000000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094" userDrawn="1">
          <p15:clr>
            <a:srgbClr val="F26B43"/>
          </p15:clr>
        </p15:guide>
        <p15:guide id="2" pos="2948" userDrawn="1">
          <p15:clr>
            <a:srgbClr val="F26B43"/>
          </p15:clr>
        </p15:guide>
        <p15:guide id="3" pos="3174" userDrawn="1">
          <p15:clr>
            <a:srgbClr val="F26B43"/>
          </p15:clr>
        </p15:guide>
        <p15:guide id="6" pos="5501" userDrawn="1">
          <p15:clr>
            <a:srgbClr val="F26B43"/>
          </p15:clr>
        </p15:guide>
        <p15:guide id="7" pos="1898" userDrawn="1">
          <p15:clr>
            <a:srgbClr val="F26B43"/>
          </p15:clr>
        </p15:guide>
        <p15:guide id="8" pos="1673" userDrawn="1">
          <p15:clr>
            <a:srgbClr val="F26B43"/>
          </p15:clr>
        </p15:guide>
        <p15:guide id="9" pos="619" userDrawn="1">
          <p15:clr>
            <a:srgbClr val="F26B43"/>
          </p15:clr>
        </p15:guide>
        <p15:guide id="10" orient="horz" pos="2478" userDrawn="1">
          <p15:clr>
            <a:srgbClr val="F26B43"/>
          </p15:clr>
        </p15:guide>
        <p15:guide id="11" orient="horz" pos="2592" userDrawn="1">
          <p15:clr>
            <a:srgbClr val="F26B43"/>
          </p15:clr>
        </p15:guide>
        <p15:guide id="12" orient="horz" pos="4086" userDrawn="1">
          <p15:clr>
            <a:srgbClr val="F26B43"/>
          </p15:clr>
        </p15:guide>
        <p15:guide id="13" pos="4451" userDrawn="1">
          <p15:clr>
            <a:srgbClr val="F26B43"/>
          </p15:clr>
        </p15:guide>
        <p15:guide id="14" pos="4226" userDrawn="1">
          <p15:clr>
            <a:srgbClr val="F26B43"/>
          </p15:clr>
        </p15:guide>
        <p15:guide id="15" pos="3062" userDrawn="1">
          <p15:clr>
            <a:srgbClr val="F26B43"/>
          </p15:clr>
        </p15:guide>
        <p15:guide id="16" orient="horz" pos="27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eetup.com/" TargetMode="External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png"/><Relationship Id="rId5" Type="http://schemas.openxmlformats.org/officeDocument/2006/relationships/image" Target="../media/image7.emf"/><Relationship Id="rId10" Type="http://schemas.openxmlformats.org/officeDocument/2006/relationships/image" Target="../media/image6.w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ayer.ru/research-at-bayer/grants4apps/" TargetMode="External"/><Relationship Id="rId13" Type="http://schemas.openxmlformats.org/officeDocument/2006/relationships/image" Target="../media/image34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2.png"/><Relationship Id="rId12" Type="http://schemas.openxmlformats.org/officeDocument/2006/relationships/image" Target="../media/image6.w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edu.iidf.ru/bayer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.w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.png"/><Relationship Id="rId7" Type="http://schemas.openxmlformats.org/officeDocument/2006/relationships/image" Target="../media/image39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hyperlink" Target="https://www.facebook.com/LigaZnaniy/videos/318294505322937/" TargetMode="External"/><Relationship Id="rId10" Type="http://schemas.openxmlformats.org/officeDocument/2006/relationships/image" Target="../media/image42.png"/><Relationship Id="rId4" Type="http://schemas.openxmlformats.org/officeDocument/2006/relationships/image" Target="../media/image37.png"/><Relationship Id="rId9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5" Type="http://schemas.openxmlformats.org/officeDocument/2006/relationships/hyperlink" Target="mailto:anastasia.ashirova@bayer.com" TargetMode="External"/><Relationship Id="rId4" Type="http://schemas.openxmlformats.org/officeDocument/2006/relationships/hyperlink" Target="mailto:internship.ru@bayer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rants4apps.com/" TargetMode="External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3.png"/><Relationship Id="rId14" Type="http://schemas.openxmlformats.org/officeDocument/2006/relationships/image" Target="../media/image6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6.wmf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9.jpeg"/><Relationship Id="rId12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8.png"/><Relationship Id="rId11" Type="http://schemas.openxmlformats.org/officeDocument/2006/relationships/image" Target="../media/image31.png"/><Relationship Id="rId5" Type="http://schemas.openxmlformats.org/officeDocument/2006/relationships/image" Target="../media/image7.emf"/><Relationship Id="rId10" Type="http://schemas.microsoft.com/office/2007/relationships/hdphoto" Target="../media/hdphoto1.wdp"/><Relationship Id="rId4" Type="http://schemas.openxmlformats.org/officeDocument/2006/relationships/oleObject" Target="../embeddings/oleObject3.bin"/><Relationship Id="rId9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709363" y="2369529"/>
            <a:ext cx="4148963" cy="1343489"/>
          </a:xfrm>
        </p:spPr>
        <p:txBody>
          <a:bodyPr/>
          <a:lstStyle/>
          <a:p>
            <a:r>
              <a:rPr lang="en-US" dirty="0" smtClean="0"/>
              <a:t>Bayer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  </a:t>
            </a:r>
            <a:r>
              <a:rPr lang="ru-RU" sz="2000" dirty="0" smtClean="0"/>
              <a:t>Кто мы</a:t>
            </a:r>
            <a:br>
              <a:rPr lang="ru-RU" sz="2000" dirty="0" smtClean="0"/>
            </a:br>
            <a:r>
              <a:rPr lang="ru-RU" sz="2000" dirty="0"/>
              <a:t> </a:t>
            </a:r>
            <a:r>
              <a:rPr lang="ru-RU" sz="2000" dirty="0" smtClean="0"/>
              <a:t>       Наши программы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/>
            <a:r>
              <a:rPr lang="ru-RU" dirty="0" smtClean="0"/>
              <a:t>Март 2018</a:t>
            </a:r>
            <a:endParaRPr lang="en-US" dirty="0"/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" r="187"/>
          <a:stretch>
            <a:fillRect/>
          </a:stretch>
        </p:blipFill>
        <p:spPr/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913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4" name="Object 61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5879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66" name="Picture 6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44"/>
          <a:stretch/>
        </p:blipFill>
        <p:spPr bwMode="auto">
          <a:xfrm>
            <a:off x="-1419" y="1322106"/>
            <a:ext cx="9152227" cy="33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uppieren 6"/>
          <p:cNvGrpSpPr/>
          <p:nvPr/>
        </p:nvGrpSpPr>
        <p:grpSpPr>
          <a:xfrm rot="900000">
            <a:off x="8041681" y="3480995"/>
            <a:ext cx="1040713" cy="625228"/>
            <a:chOff x="4310063" y="2390775"/>
            <a:chExt cx="2581275" cy="1714500"/>
          </a:xfrm>
        </p:grpSpPr>
        <p:sp>
          <p:nvSpPr>
            <p:cNvPr id="3" name="Rechteck 4"/>
            <p:cNvSpPr/>
            <p:nvPr/>
          </p:nvSpPr>
          <p:spPr>
            <a:xfrm>
              <a:off x="4310063" y="2809875"/>
              <a:ext cx="2581275" cy="10953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de-DE" kern="0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4" name="Picture 6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0063" y="2390775"/>
              <a:ext cx="2581275" cy="1714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Textfeld 7"/>
          <p:cNvSpPr txBox="1"/>
          <p:nvPr/>
        </p:nvSpPr>
        <p:spPr>
          <a:xfrm>
            <a:off x="251564" y="4675849"/>
            <a:ext cx="7634173" cy="1938982"/>
          </a:xfrm>
          <a:prstGeom prst="rect">
            <a:avLst/>
          </a:prstGeom>
          <a:noFill/>
        </p:spPr>
        <p:txBody>
          <a:bodyPr wrap="square" lIns="0" tIns="45715" rIns="91431" bIns="45715" rtlCol="0">
            <a:spAutoFit/>
          </a:bodyPr>
          <a:lstStyle/>
          <a:p>
            <a:pPr marL="269848" indent="-269848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Digital </a:t>
            </a:r>
            <a:r>
              <a:rPr lang="en-US" dirty="0">
                <a:solidFill>
                  <a:srgbClr val="676767">
                    <a:lumMod val="75000"/>
                  </a:srgbClr>
                </a:solidFill>
                <a:latin typeface="Arial"/>
              </a:rPr>
              <a:t>health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группа в Европе  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&gt;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4 000 участников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(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Берлин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)</a:t>
            </a:r>
            <a:endParaRPr lang="ru-RU" dirty="0" smtClean="0">
              <a:solidFill>
                <a:srgbClr val="676767">
                  <a:lumMod val="75000"/>
                </a:srgbClr>
              </a:solidFill>
              <a:latin typeface="Arial"/>
            </a:endParaRPr>
          </a:p>
          <a:p>
            <a:pPr marL="269848" indent="-269848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Digital health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мероприятие ≈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8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00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участников (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kick-off event 201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7)</a:t>
            </a:r>
            <a:endParaRPr lang="de-DE" dirty="0" smtClean="0">
              <a:solidFill>
                <a:srgbClr val="676767">
                  <a:lumMod val="75000"/>
                </a:srgbClr>
              </a:solidFill>
              <a:latin typeface="Arial"/>
            </a:endParaRPr>
          </a:p>
          <a:p>
            <a:pPr marL="269848" indent="-269848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Сообщество единомышленников по </a:t>
            </a:r>
            <a:r>
              <a:rPr lang="ru-RU" dirty="0">
                <a:solidFill>
                  <a:srgbClr val="676767">
                    <a:lumMod val="75000"/>
                  </a:srgbClr>
                </a:solidFill>
                <a:latin typeface="Arial"/>
              </a:rPr>
              <a:t>всему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миру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&gt;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11 000 участников</a:t>
            </a:r>
          </a:p>
          <a:p>
            <a:pPr marL="269848" indent="-269848">
              <a:spcAft>
                <a:spcPts val="1199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38</a:t>
            </a:r>
            <a:r>
              <a:rPr lang="de-DE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групп в разных странах мира 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S</a:t>
            </a:r>
            <a:r>
              <a:rPr lang="de-DE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TEM 4 </a:t>
            </a:r>
            <a:r>
              <a:rPr lang="de-DE" dirty="0" err="1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Health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 (</a:t>
            </a:r>
            <a:r>
              <a:rPr lang="en-US" dirty="0" smtClean="0">
                <a:solidFill>
                  <a:srgbClr val="676767">
                    <a:lumMod val="75000"/>
                  </a:srgbClr>
                </a:solidFill>
                <a:latin typeface="Arial"/>
                <a:hlinkClick r:id="rId8"/>
              </a:rPr>
              <a:t>www.meetup.com</a:t>
            </a:r>
            <a:r>
              <a:rPr lang="ru-RU" dirty="0" smtClean="0">
                <a:solidFill>
                  <a:srgbClr val="676767">
                    <a:lumMod val="75000"/>
                  </a:srgbClr>
                </a:solidFill>
                <a:latin typeface="Arial"/>
              </a:rPr>
              <a:t>)</a:t>
            </a:r>
            <a:endParaRPr lang="de-DE" dirty="0" smtClean="0">
              <a:solidFill>
                <a:srgbClr val="676767">
                  <a:lumMod val="75000"/>
                </a:srgbClr>
              </a:solidFill>
              <a:latin typeface="Arial"/>
            </a:endParaRPr>
          </a:p>
        </p:txBody>
      </p:sp>
      <p:sp>
        <p:nvSpPr>
          <p:cNvPr id="183" name="Titel 1"/>
          <p:cNvSpPr txBox="1">
            <a:spLocks/>
          </p:cNvSpPr>
          <p:nvPr/>
        </p:nvSpPr>
        <p:spPr bwMode="gray">
          <a:xfrm>
            <a:off x="3814864" y="-55377"/>
            <a:ext cx="3350668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4000" dirty="0">
                <a:solidFill>
                  <a:srgbClr val="676767"/>
                </a:solidFill>
                <a:latin typeface="Arial"/>
              </a:rPr>
              <a:t>	       		     </a:t>
            </a:r>
            <a:r>
              <a:rPr lang="ru-RU" sz="3600" dirty="0" smtClean="0">
                <a:solidFill>
                  <a:srgbClr val="676767"/>
                </a:solidFill>
                <a:latin typeface="Arial"/>
              </a:rPr>
              <a:t>сообщество</a:t>
            </a:r>
            <a:endParaRPr lang="de-DE" sz="3600" dirty="0">
              <a:solidFill>
                <a:srgbClr val="676767"/>
              </a:solidFill>
              <a:latin typeface="Arial"/>
            </a:endParaRPr>
          </a:p>
        </p:txBody>
      </p:sp>
      <p:pic>
        <p:nvPicPr>
          <p:cNvPr id="14" name="Grafik 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205818" y="216558"/>
            <a:ext cx="3407846" cy="76417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33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27993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205818" y="3933670"/>
            <a:ext cx="8688207" cy="22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fik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205818" y="216558"/>
            <a:ext cx="3407846" cy="764170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2452256" y="1556792"/>
            <a:ext cx="6441768" cy="22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s4Apps</a:t>
            </a:r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cow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локализация глобальной программы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ддержке </a:t>
            </a:r>
            <a:r>
              <a:rPr lang="ru-RU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апов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цифрово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е. Впервые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s4Apps Moscow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 запущен в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ду.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Является ежегодно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тивой московского офиса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www.bayer.ru/research-at-bayer/grants4apps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/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el 1"/>
          <p:cNvSpPr txBox="1">
            <a:spLocks/>
          </p:cNvSpPr>
          <p:nvPr/>
        </p:nvSpPr>
        <p:spPr bwMode="gray">
          <a:xfrm>
            <a:off x="3814864" y="-89761"/>
            <a:ext cx="3881195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rgbClr val="676767"/>
                </a:solidFill>
                <a:latin typeface="Arial"/>
              </a:rPr>
              <a:t>	       		     </a:t>
            </a:r>
            <a:r>
              <a:rPr lang="ru-RU" sz="3600" dirty="0" smtClean="0">
                <a:solidFill>
                  <a:srgbClr val="676767"/>
                </a:solidFill>
                <a:latin typeface="Arial"/>
              </a:rPr>
              <a:t>   в России</a:t>
            </a:r>
            <a:endParaRPr lang="de-DE" sz="3600" dirty="0">
              <a:solidFill>
                <a:srgbClr val="676767"/>
              </a:solidFill>
              <a:latin typeface="Arial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204022" y="3973040"/>
            <a:ext cx="6737544" cy="1976241"/>
            <a:chOff x="1367864" y="3973039"/>
            <a:chExt cx="6736374" cy="1976241"/>
          </a:xfrm>
        </p:grpSpPr>
        <p:grpSp>
          <p:nvGrpSpPr>
            <p:cNvPr id="5" name="Group 4"/>
            <p:cNvGrpSpPr/>
            <p:nvPr/>
          </p:nvGrpSpPr>
          <p:grpSpPr>
            <a:xfrm>
              <a:off x="1367864" y="4149079"/>
              <a:ext cx="1980000" cy="1800201"/>
              <a:chOff x="1367864" y="4149079"/>
              <a:chExt cx="1980000" cy="1800201"/>
            </a:xfrm>
          </p:grpSpPr>
          <p:sp>
            <p:nvSpPr>
              <p:cNvPr id="24" name="Rechteck 7"/>
              <p:cNvSpPr/>
              <p:nvPr/>
            </p:nvSpPr>
            <p:spPr bwMode="auto">
              <a:xfrm>
                <a:off x="1367864" y="4149079"/>
                <a:ext cx="1980000" cy="1800201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42CA42"/>
                </a:solidFill>
                <a:prstDash val="solid"/>
              </a:ln>
              <a:effectLst/>
            </p:spPr>
            <p:txBody>
              <a:bodyPr vert="horz" wrap="square" lIns="0" tIns="0" rIns="0" bIns="215978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  <a:p>
                <a:pPr algn="ctr"/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  <a:p>
                <a:pPr algn="ctr"/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  <a:p>
                <a:pPr algn="ctr"/>
                <a:r>
                  <a:rPr lang="ru-RU" kern="0" dirty="0" smtClean="0">
                    <a:solidFill>
                      <a:srgbClr val="676767"/>
                    </a:solidFill>
                    <a:latin typeface="Arial"/>
                  </a:rPr>
                  <a:t>Сообщество</a:t>
                </a:r>
                <a:endParaRPr lang="ru-RU" kern="0" dirty="0">
                  <a:solidFill>
                    <a:srgbClr val="676767"/>
                  </a:solidFill>
                  <a:latin typeface="Arial"/>
                </a:endParaRPr>
              </a:p>
            </p:txBody>
          </p:sp>
          <p:pic>
            <p:nvPicPr>
              <p:cNvPr id="28" name="Picture 8" descr="C:\Users\gbgxl\Desktop\Icons\Icons\Mentoring Icons.png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3463" y="4334989"/>
                <a:ext cx="1171575" cy="10382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2" name="Group 1"/>
            <p:cNvGrpSpPr/>
            <p:nvPr/>
          </p:nvGrpSpPr>
          <p:grpSpPr>
            <a:xfrm>
              <a:off x="6124238" y="4149079"/>
              <a:ext cx="1980000" cy="1800200"/>
              <a:chOff x="6124238" y="4149079"/>
              <a:chExt cx="1980000" cy="1800200"/>
            </a:xfrm>
          </p:grpSpPr>
          <p:sp>
            <p:nvSpPr>
              <p:cNvPr id="27" name="Rechteck 10"/>
              <p:cNvSpPr/>
              <p:nvPr/>
            </p:nvSpPr>
            <p:spPr bwMode="auto">
              <a:xfrm>
                <a:off x="6124238" y="4149079"/>
                <a:ext cx="1980000" cy="18002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42CA42"/>
                </a:solidFill>
                <a:prstDash val="solid"/>
              </a:ln>
              <a:effectLst/>
            </p:spPr>
            <p:txBody>
              <a:bodyPr vert="horz" wrap="square" lIns="0" tIns="0" rIns="0" bIns="215978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  <a:p>
                <a:pPr algn="ctr"/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  <a:p>
                <a:pPr algn="ctr"/>
                <a:r>
                  <a:rPr lang="ru-RU" kern="0" dirty="0" smtClean="0">
                    <a:solidFill>
                      <a:srgbClr val="676767"/>
                    </a:solidFill>
                    <a:latin typeface="Arial"/>
                  </a:rPr>
                  <a:t>Менторы</a:t>
                </a:r>
                <a:endParaRPr lang="de-DE" kern="0" dirty="0">
                  <a:solidFill>
                    <a:srgbClr val="676767"/>
                  </a:solidFill>
                  <a:latin typeface="Arial"/>
                </a:endParaRPr>
              </a:p>
            </p:txBody>
          </p:sp>
          <p:pic>
            <p:nvPicPr>
              <p:cNvPr id="29" name="Picture 9" descr="C:\Users\gbgxl\Desktop\Icons\Icons\Bayer resources Icon.png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39626" y="4468364"/>
                <a:ext cx="1143000" cy="9810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3746051" y="3973039"/>
              <a:ext cx="1980000" cy="1976241"/>
              <a:chOff x="3995936" y="3973039"/>
              <a:chExt cx="1980000" cy="1976241"/>
            </a:xfrm>
          </p:grpSpPr>
          <p:sp>
            <p:nvSpPr>
              <p:cNvPr id="26" name="Rechteck 9"/>
              <p:cNvSpPr/>
              <p:nvPr/>
            </p:nvSpPr>
            <p:spPr bwMode="auto">
              <a:xfrm>
                <a:off x="3995936" y="4149079"/>
                <a:ext cx="1980000" cy="1800201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42CA42"/>
                </a:solidFill>
                <a:prstDash val="solid"/>
              </a:ln>
              <a:effectLst/>
            </p:spPr>
            <p:txBody>
              <a:bodyPr vert="horz" wrap="square" lIns="0" tIns="0" rIns="0" bIns="215978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ru-RU" kern="0" dirty="0" smtClean="0">
                    <a:solidFill>
                      <a:srgbClr val="676767"/>
                    </a:solidFill>
                    <a:latin typeface="Arial"/>
                  </a:rPr>
                  <a:t>Офис</a:t>
                </a:r>
                <a:endParaRPr lang="ru-RU" kern="0" dirty="0">
                  <a:solidFill>
                    <a:srgbClr val="676767"/>
                  </a:solidFill>
                  <a:latin typeface="Arial"/>
                </a:endParaRPr>
              </a:p>
            </p:txBody>
          </p:sp>
          <p:pic>
            <p:nvPicPr>
              <p:cNvPr id="30" name="Picture 10" descr="C:\Users\gbgxl\Desktop\Icons\Icons\Berlin Office Icon.png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47786" y="3973039"/>
                <a:ext cx="876300" cy="1400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9" name="Рисунок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18" y="1632819"/>
            <a:ext cx="2184996" cy="1950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962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9818" y="698807"/>
            <a:ext cx="1940583" cy="773487"/>
          </a:xfrm>
          <a:prstGeom prst="rect">
            <a:avLst/>
          </a:prstGeom>
        </p:spPr>
      </p:pic>
      <p:grpSp>
        <p:nvGrpSpPr>
          <p:cNvPr id="5" name="Group 6"/>
          <p:cNvGrpSpPr/>
          <p:nvPr/>
        </p:nvGrpSpPr>
        <p:grpSpPr>
          <a:xfrm>
            <a:off x="2474996" y="2959661"/>
            <a:ext cx="3783473" cy="2409608"/>
            <a:chOff x="-5365104" y="-882922"/>
            <a:chExt cx="5040000" cy="3168352"/>
          </a:xfrm>
        </p:grpSpPr>
        <p:pic>
          <p:nvPicPr>
            <p:cNvPr id="6" name="899EBEDA-BA09-4BCF-B616-3C30C4B3390C" descr="899EBEDA-BA09-4BCF-B616-3C30C4B3390C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143"/>
            <a:stretch/>
          </p:blipFill>
          <p:spPr bwMode="auto">
            <a:xfrm>
              <a:off x="-5365104" y="-846570"/>
              <a:ext cx="5040000" cy="31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/>
            <p:nvPr/>
          </p:nvSpPr>
          <p:spPr bwMode="auto">
            <a:xfrm>
              <a:off x="-5365104" y="-882922"/>
              <a:ext cx="5040000" cy="3132000"/>
            </a:xfrm>
            <a:prstGeom prst="rect">
              <a:avLst/>
            </a:prstGeom>
            <a:gradFill flip="none" rotWithShape="1">
              <a:gsLst>
                <a:gs pos="42000">
                  <a:srgbClr val="FFFFFF">
                    <a:alpha val="0"/>
                  </a:srgbClr>
                </a:gs>
                <a:gs pos="97000">
                  <a:srgbClr val="FFFFFF"/>
                </a:gs>
              </a:gsLst>
              <a:path path="rect">
                <a:fillToRect l="50000" t="50000" r="50000" b="50000"/>
              </a:path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ru-RU" kern="0" dirty="0" err="1">
                <a:solidFill>
                  <a:srgbClr val="676767"/>
                </a:solidFill>
                <a:latin typeface="Arial"/>
              </a:endParaRPr>
            </a:p>
          </p:txBody>
        </p:sp>
      </p:grpSp>
      <p:sp>
        <p:nvSpPr>
          <p:cNvPr id="8" name="Donut 13"/>
          <p:cNvSpPr/>
          <p:nvPr/>
        </p:nvSpPr>
        <p:spPr bwMode="auto">
          <a:xfrm>
            <a:off x="469475" y="3055429"/>
            <a:ext cx="6696057" cy="3637935"/>
          </a:xfrm>
          <a:custGeom>
            <a:avLst/>
            <a:gdLst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42311 w 8084622"/>
              <a:gd name="connsiteY6" fmla="*/ 33327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980350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7993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04212 w 8084624"/>
              <a:gd name="connsiteY6" fmla="*/ 27993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13737 w 8084624"/>
              <a:gd name="connsiteY6" fmla="*/ 27231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555657 h 3907482"/>
              <a:gd name="connsiteX9" fmla="*/ 555657 w 8084622"/>
              <a:gd name="connsiteY9" fmla="*/ 1944216 h 3907482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250857 h 3907482"/>
              <a:gd name="connsiteX9" fmla="*/ 555657 w 8084622"/>
              <a:gd name="connsiteY9" fmla="*/ 1944216 h 3907482"/>
              <a:gd name="connsiteX0" fmla="*/ 20491 w 8115835"/>
              <a:gd name="connsiteY0" fmla="*/ 1944216 h 3831282"/>
              <a:gd name="connsiteX1" fmla="*/ 4062802 w 8115835"/>
              <a:gd name="connsiteY1" fmla="*/ 0 h 3831282"/>
              <a:gd name="connsiteX2" fmla="*/ 8105113 w 8115835"/>
              <a:gd name="connsiteY2" fmla="*/ 1944216 h 3831282"/>
              <a:gd name="connsiteX3" fmla="*/ 3015052 w 8115835"/>
              <a:gd name="connsiteY3" fmla="*/ 3831282 h 3831282"/>
              <a:gd name="connsiteX4" fmla="*/ 20491 w 8115835"/>
              <a:gd name="connsiteY4" fmla="*/ 1944216 h 3831282"/>
              <a:gd name="connsiteX5" fmla="*/ 576148 w 8115835"/>
              <a:gd name="connsiteY5" fmla="*/ 1944216 h 3831282"/>
              <a:gd name="connsiteX6" fmla="*/ 4034227 w 8115835"/>
              <a:gd name="connsiteY6" fmla="*/ 2723175 h 3831282"/>
              <a:gd name="connsiteX7" fmla="*/ 7549456 w 8115835"/>
              <a:gd name="connsiteY7" fmla="*/ 1944216 h 3831282"/>
              <a:gd name="connsiteX8" fmla="*/ 4062802 w 8115835"/>
              <a:gd name="connsiteY8" fmla="*/ 250857 h 3831282"/>
              <a:gd name="connsiteX9" fmla="*/ 576148 w 8115835"/>
              <a:gd name="connsiteY9" fmla="*/ 1944216 h 3831282"/>
              <a:gd name="connsiteX0" fmla="*/ 14376 w 8130261"/>
              <a:gd name="connsiteY0" fmla="*/ 1944216 h 3774132"/>
              <a:gd name="connsiteX1" fmla="*/ 4056687 w 8130261"/>
              <a:gd name="connsiteY1" fmla="*/ 0 h 3774132"/>
              <a:gd name="connsiteX2" fmla="*/ 8098998 w 8130261"/>
              <a:gd name="connsiteY2" fmla="*/ 1944216 h 3774132"/>
              <a:gd name="connsiteX3" fmla="*/ 5285412 w 8130261"/>
              <a:gd name="connsiteY3" fmla="*/ 3774132 h 3774132"/>
              <a:gd name="connsiteX4" fmla="*/ 14376 w 8130261"/>
              <a:gd name="connsiteY4" fmla="*/ 1944216 h 3774132"/>
              <a:gd name="connsiteX5" fmla="*/ 570033 w 8130261"/>
              <a:gd name="connsiteY5" fmla="*/ 1944216 h 3774132"/>
              <a:gd name="connsiteX6" fmla="*/ 4028112 w 8130261"/>
              <a:gd name="connsiteY6" fmla="*/ 2723175 h 3774132"/>
              <a:gd name="connsiteX7" fmla="*/ 7543341 w 8130261"/>
              <a:gd name="connsiteY7" fmla="*/ 1944216 h 3774132"/>
              <a:gd name="connsiteX8" fmla="*/ 4056687 w 8130261"/>
              <a:gd name="connsiteY8" fmla="*/ 250857 h 3774132"/>
              <a:gd name="connsiteX9" fmla="*/ 570033 w 8130261"/>
              <a:gd name="connsiteY9" fmla="*/ 1944216 h 3774132"/>
              <a:gd name="connsiteX0" fmla="*/ 10188 w 8113894"/>
              <a:gd name="connsiteY0" fmla="*/ 1944216 h 3793182"/>
              <a:gd name="connsiteX1" fmla="*/ 4052499 w 8113894"/>
              <a:gd name="connsiteY1" fmla="*/ 0 h 3793182"/>
              <a:gd name="connsiteX2" fmla="*/ 8094810 w 8113894"/>
              <a:gd name="connsiteY2" fmla="*/ 1944216 h 3793182"/>
              <a:gd name="connsiteX3" fmla="*/ 5071674 w 8113894"/>
              <a:gd name="connsiteY3" fmla="*/ 3793182 h 3793182"/>
              <a:gd name="connsiteX4" fmla="*/ 10188 w 8113894"/>
              <a:gd name="connsiteY4" fmla="*/ 1944216 h 3793182"/>
              <a:gd name="connsiteX5" fmla="*/ 565845 w 8113894"/>
              <a:gd name="connsiteY5" fmla="*/ 1944216 h 3793182"/>
              <a:gd name="connsiteX6" fmla="*/ 4023924 w 8113894"/>
              <a:gd name="connsiteY6" fmla="*/ 2723175 h 3793182"/>
              <a:gd name="connsiteX7" fmla="*/ 7539153 w 8113894"/>
              <a:gd name="connsiteY7" fmla="*/ 1944216 h 3793182"/>
              <a:gd name="connsiteX8" fmla="*/ 4052499 w 8113894"/>
              <a:gd name="connsiteY8" fmla="*/ 250857 h 3793182"/>
              <a:gd name="connsiteX9" fmla="*/ 565845 w 8113894"/>
              <a:gd name="connsiteY9" fmla="*/ 1944216 h 3793182"/>
              <a:gd name="connsiteX0" fmla="*/ 9492 w 8111434"/>
              <a:gd name="connsiteY0" fmla="*/ 1944216 h 3793182"/>
              <a:gd name="connsiteX1" fmla="*/ 4051803 w 8111434"/>
              <a:gd name="connsiteY1" fmla="*/ 0 h 3793182"/>
              <a:gd name="connsiteX2" fmla="*/ 8094114 w 8111434"/>
              <a:gd name="connsiteY2" fmla="*/ 1944216 h 3793182"/>
              <a:gd name="connsiteX3" fmla="*/ 5032878 w 8111434"/>
              <a:gd name="connsiteY3" fmla="*/ 3793182 h 3793182"/>
              <a:gd name="connsiteX4" fmla="*/ 9492 w 8111434"/>
              <a:gd name="connsiteY4" fmla="*/ 1944216 h 3793182"/>
              <a:gd name="connsiteX5" fmla="*/ 565149 w 8111434"/>
              <a:gd name="connsiteY5" fmla="*/ 1944216 h 3793182"/>
              <a:gd name="connsiteX6" fmla="*/ 4023228 w 8111434"/>
              <a:gd name="connsiteY6" fmla="*/ 2723175 h 3793182"/>
              <a:gd name="connsiteX7" fmla="*/ 7538457 w 8111434"/>
              <a:gd name="connsiteY7" fmla="*/ 1944216 h 3793182"/>
              <a:gd name="connsiteX8" fmla="*/ 4051803 w 8111434"/>
              <a:gd name="connsiteY8" fmla="*/ 250857 h 3793182"/>
              <a:gd name="connsiteX9" fmla="*/ 565149 w 8111434"/>
              <a:gd name="connsiteY9" fmla="*/ 1944216 h 3793182"/>
              <a:gd name="connsiteX0" fmla="*/ 33690 w 8248507"/>
              <a:gd name="connsiteY0" fmla="*/ 1944216 h 3830941"/>
              <a:gd name="connsiteX1" fmla="*/ 4076001 w 8248507"/>
              <a:gd name="connsiteY1" fmla="*/ 0 h 3830941"/>
              <a:gd name="connsiteX2" fmla="*/ 8118312 w 8248507"/>
              <a:gd name="connsiteY2" fmla="*/ 1944216 h 3830941"/>
              <a:gd name="connsiteX3" fmla="*/ 6051863 w 8248507"/>
              <a:gd name="connsiteY3" fmla="*/ 3830941 h 3830941"/>
              <a:gd name="connsiteX4" fmla="*/ 33690 w 8248507"/>
              <a:gd name="connsiteY4" fmla="*/ 1944216 h 3830941"/>
              <a:gd name="connsiteX5" fmla="*/ 589347 w 8248507"/>
              <a:gd name="connsiteY5" fmla="*/ 1944216 h 3830941"/>
              <a:gd name="connsiteX6" fmla="*/ 4047426 w 8248507"/>
              <a:gd name="connsiteY6" fmla="*/ 2723175 h 3830941"/>
              <a:gd name="connsiteX7" fmla="*/ 7562655 w 8248507"/>
              <a:gd name="connsiteY7" fmla="*/ 1944216 h 3830941"/>
              <a:gd name="connsiteX8" fmla="*/ 4076001 w 8248507"/>
              <a:gd name="connsiteY8" fmla="*/ 250857 h 3830941"/>
              <a:gd name="connsiteX9" fmla="*/ 589347 w 8248507"/>
              <a:gd name="connsiteY9" fmla="*/ 1944216 h 3830941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606237 w 8418740"/>
              <a:gd name="connsiteY5" fmla="*/ 1944216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606237 w 8418740"/>
              <a:gd name="connsiteY9" fmla="*/ 1944216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18740" h="4008197">
                <a:moveTo>
                  <a:pt x="50580" y="1944216"/>
                </a:moveTo>
                <a:cubicBezTo>
                  <a:pt x="-365816" y="1276183"/>
                  <a:pt x="1860384" y="0"/>
                  <a:pt x="4092891" y="0"/>
                </a:cubicBezTo>
                <a:cubicBezTo>
                  <a:pt x="6325398" y="0"/>
                  <a:pt x="7718806" y="1276183"/>
                  <a:pt x="8135202" y="1944216"/>
                </a:cubicBezTo>
                <a:cubicBezTo>
                  <a:pt x="8551598" y="2612249"/>
                  <a:pt x="8823774" y="4008197"/>
                  <a:pt x="6591267" y="4008197"/>
                </a:cubicBezTo>
                <a:cubicBezTo>
                  <a:pt x="4358760" y="4008197"/>
                  <a:pt x="466976" y="2612249"/>
                  <a:pt x="50580" y="1944216"/>
                </a:cubicBezTo>
                <a:close/>
                <a:moveTo>
                  <a:pt x="577208" y="1603340"/>
                </a:moveTo>
                <a:cubicBezTo>
                  <a:pt x="267646" y="2369905"/>
                  <a:pt x="2897260" y="2666362"/>
                  <a:pt x="4064316" y="2723175"/>
                </a:cubicBezTo>
                <a:cubicBezTo>
                  <a:pt x="5231372" y="2779988"/>
                  <a:pt x="7579545" y="2711096"/>
                  <a:pt x="7579545" y="1944216"/>
                </a:cubicBezTo>
                <a:cubicBezTo>
                  <a:pt x="7579545" y="1177336"/>
                  <a:pt x="5259947" y="307670"/>
                  <a:pt x="4092891" y="250857"/>
                </a:cubicBezTo>
                <a:cubicBezTo>
                  <a:pt x="2925835" y="194044"/>
                  <a:pt x="886770" y="836775"/>
                  <a:pt x="577208" y="1603340"/>
                </a:cubicBezTo>
                <a:close/>
              </a:path>
            </a:pathLst>
          </a:custGeom>
          <a:gradFill>
            <a:gsLst>
              <a:gs pos="0">
                <a:srgbClr val="6BC200"/>
              </a:gs>
              <a:gs pos="50000">
                <a:srgbClr val="6BC2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02412" tIns="51205" rIns="102412" bIns="51205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kern="0" dirty="0" err="1">
              <a:solidFill>
                <a:srgbClr val="676767"/>
              </a:solidFill>
              <a:latin typeface="Arial"/>
            </a:endParaRPr>
          </a:p>
        </p:txBody>
      </p:sp>
      <p:pic>
        <p:nvPicPr>
          <p:cNvPr id="13" name="Grafik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1573887" y="576105"/>
            <a:ext cx="4245022" cy="1018893"/>
          </a:xfrm>
          <a:prstGeom prst="rect">
            <a:avLst/>
          </a:prstGeom>
        </p:spPr>
      </p:pic>
      <p:sp>
        <p:nvSpPr>
          <p:cNvPr id="14" name="Donut 13"/>
          <p:cNvSpPr/>
          <p:nvPr/>
        </p:nvSpPr>
        <p:spPr bwMode="auto">
          <a:xfrm>
            <a:off x="912018" y="2756926"/>
            <a:ext cx="6696057" cy="3637935"/>
          </a:xfrm>
          <a:custGeom>
            <a:avLst/>
            <a:gdLst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42311 w 8084622"/>
              <a:gd name="connsiteY6" fmla="*/ 33327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980350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7993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04212 w 8084624"/>
              <a:gd name="connsiteY6" fmla="*/ 27993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13737 w 8084624"/>
              <a:gd name="connsiteY6" fmla="*/ 27231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555657 h 3907482"/>
              <a:gd name="connsiteX9" fmla="*/ 555657 w 8084622"/>
              <a:gd name="connsiteY9" fmla="*/ 1944216 h 3907482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250857 h 3907482"/>
              <a:gd name="connsiteX9" fmla="*/ 555657 w 8084622"/>
              <a:gd name="connsiteY9" fmla="*/ 1944216 h 3907482"/>
              <a:gd name="connsiteX0" fmla="*/ 20491 w 8115835"/>
              <a:gd name="connsiteY0" fmla="*/ 1944216 h 3831282"/>
              <a:gd name="connsiteX1" fmla="*/ 4062802 w 8115835"/>
              <a:gd name="connsiteY1" fmla="*/ 0 h 3831282"/>
              <a:gd name="connsiteX2" fmla="*/ 8105113 w 8115835"/>
              <a:gd name="connsiteY2" fmla="*/ 1944216 h 3831282"/>
              <a:gd name="connsiteX3" fmla="*/ 3015052 w 8115835"/>
              <a:gd name="connsiteY3" fmla="*/ 3831282 h 3831282"/>
              <a:gd name="connsiteX4" fmla="*/ 20491 w 8115835"/>
              <a:gd name="connsiteY4" fmla="*/ 1944216 h 3831282"/>
              <a:gd name="connsiteX5" fmla="*/ 576148 w 8115835"/>
              <a:gd name="connsiteY5" fmla="*/ 1944216 h 3831282"/>
              <a:gd name="connsiteX6" fmla="*/ 4034227 w 8115835"/>
              <a:gd name="connsiteY6" fmla="*/ 2723175 h 3831282"/>
              <a:gd name="connsiteX7" fmla="*/ 7549456 w 8115835"/>
              <a:gd name="connsiteY7" fmla="*/ 1944216 h 3831282"/>
              <a:gd name="connsiteX8" fmla="*/ 4062802 w 8115835"/>
              <a:gd name="connsiteY8" fmla="*/ 250857 h 3831282"/>
              <a:gd name="connsiteX9" fmla="*/ 576148 w 8115835"/>
              <a:gd name="connsiteY9" fmla="*/ 1944216 h 3831282"/>
              <a:gd name="connsiteX0" fmla="*/ 14376 w 8130261"/>
              <a:gd name="connsiteY0" fmla="*/ 1944216 h 3774132"/>
              <a:gd name="connsiteX1" fmla="*/ 4056687 w 8130261"/>
              <a:gd name="connsiteY1" fmla="*/ 0 h 3774132"/>
              <a:gd name="connsiteX2" fmla="*/ 8098998 w 8130261"/>
              <a:gd name="connsiteY2" fmla="*/ 1944216 h 3774132"/>
              <a:gd name="connsiteX3" fmla="*/ 5285412 w 8130261"/>
              <a:gd name="connsiteY3" fmla="*/ 3774132 h 3774132"/>
              <a:gd name="connsiteX4" fmla="*/ 14376 w 8130261"/>
              <a:gd name="connsiteY4" fmla="*/ 1944216 h 3774132"/>
              <a:gd name="connsiteX5" fmla="*/ 570033 w 8130261"/>
              <a:gd name="connsiteY5" fmla="*/ 1944216 h 3774132"/>
              <a:gd name="connsiteX6" fmla="*/ 4028112 w 8130261"/>
              <a:gd name="connsiteY6" fmla="*/ 2723175 h 3774132"/>
              <a:gd name="connsiteX7" fmla="*/ 7543341 w 8130261"/>
              <a:gd name="connsiteY7" fmla="*/ 1944216 h 3774132"/>
              <a:gd name="connsiteX8" fmla="*/ 4056687 w 8130261"/>
              <a:gd name="connsiteY8" fmla="*/ 250857 h 3774132"/>
              <a:gd name="connsiteX9" fmla="*/ 570033 w 8130261"/>
              <a:gd name="connsiteY9" fmla="*/ 1944216 h 3774132"/>
              <a:gd name="connsiteX0" fmla="*/ 10188 w 8113894"/>
              <a:gd name="connsiteY0" fmla="*/ 1944216 h 3793182"/>
              <a:gd name="connsiteX1" fmla="*/ 4052499 w 8113894"/>
              <a:gd name="connsiteY1" fmla="*/ 0 h 3793182"/>
              <a:gd name="connsiteX2" fmla="*/ 8094810 w 8113894"/>
              <a:gd name="connsiteY2" fmla="*/ 1944216 h 3793182"/>
              <a:gd name="connsiteX3" fmla="*/ 5071674 w 8113894"/>
              <a:gd name="connsiteY3" fmla="*/ 3793182 h 3793182"/>
              <a:gd name="connsiteX4" fmla="*/ 10188 w 8113894"/>
              <a:gd name="connsiteY4" fmla="*/ 1944216 h 3793182"/>
              <a:gd name="connsiteX5" fmla="*/ 565845 w 8113894"/>
              <a:gd name="connsiteY5" fmla="*/ 1944216 h 3793182"/>
              <a:gd name="connsiteX6" fmla="*/ 4023924 w 8113894"/>
              <a:gd name="connsiteY6" fmla="*/ 2723175 h 3793182"/>
              <a:gd name="connsiteX7" fmla="*/ 7539153 w 8113894"/>
              <a:gd name="connsiteY7" fmla="*/ 1944216 h 3793182"/>
              <a:gd name="connsiteX8" fmla="*/ 4052499 w 8113894"/>
              <a:gd name="connsiteY8" fmla="*/ 250857 h 3793182"/>
              <a:gd name="connsiteX9" fmla="*/ 565845 w 8113894"/>
              <a:gd name="connsiteY9" fmla="*/ 1944216 h 3793182"/>
              <a:gd name="connsiteX0" fmla="*/ 9492 w 8111434"/>
              <a:gd name="connsiteY0" fmla="*/ 1944216 h 3793182"/>
              <a:gd name="connsiteX1" fmla="*/ 4051803 w 8111434"/>
              <a:gd name="connsiteY1" fmla="*/ 0 h 3793182"/>
              <a:gd name="connsiteX2" fmla="*/ 8094114 w 8111434"/>
              <a:gd name="connsiteY2" fmla="*/ 1944216 h 3793182"/>
              <a:gd name="connsiteX3" fmla="*/ 5032878 w 8111434"/>
              <a:gd name="connsiteY3" fmla="*/ 3793182 h 3793182"/>
              <a:gd name="connsiteX4" fmla="*/ 9492 w 8111434"/>
              <a:gd name="connsiteY4" fmla="*/ 1944216 h 3793182"/>
              <a:gd name="connsiteX5" fmla="*/ 565149 w 8111434"/>
              <a:gd name="connsiteY5" fmla="*/ 1944216 h 3793182"/>
              <a:gd name="connsiteX6" fmla="*/ 4023228 w 8111434"/>
              <a:gd name="connsiteY6" fmla="*/ 2723175 h 3793182"/>
              <a:gd name="connsiteX7" fmla="*/ 7538457 w 8111434"/>
              <a:gd name="connsiteY7" fmla="*/ 1944216 h 3793182"/>
              <a:gd name="connsiteX8" fmla="*/ 4051803 w 8111434"/>
              <a:gd name="connsiteY8" fmla="*/ 250857 h 3793182"/>
              <a:gd name="connsiteX9" fmla="*/ 565149 w 8111434"/>
              <a:gd name="connsiteY9" fmla="*/ 1944216 h 3793182"/>
              <a:gd name="connsiteX0" fmla="*/ 33690 w 8248507"/>
              <a:gd name="connsiteY0" fmla="*/ 1944216 h 3830941"/>
              <a:gd name="connsiteX1" fmla="*/ 4076001 w 8248507"/>
              <a:gd name="connsiteY1" fmla="*/ 0 h 3830941"/>
              <a:gd name="connsiteX2" fmla="*/ 8118312 w 8248507"/>
              <a:gd name="connsiteY2" fmla="*/ 1944216 h 3830941"/>
              <a:gd name="connsiteX3" fmla="*/ 6051863 w 8248507"/>
              <a:gd name="connsiteY3" fmla="*/ 3830941 h 3830941"/>
              <a:gd name="connsiteX4" fmla="*/ 33690 w 8248507"/>
              <a:gd name="connsiteY4" fmla="*/ 1944216 h 3830941"/>
              <a:gd name="connsiteX5" fmla="*/ 589347 w 8248507"/>
              <a:gd name="connsiteY5" fmla="*/ 1944216 h 3830941"/>
              <a:gd name="connsiteX6" fmla="*/ 4047426 w 8248507"/>
              <a:gd name="connsiteY6" fmla="*/ 2723175 h 3830941"/>
              <a:gd name="connsiteX7" fmla="*/ 7562655 w 8248507"/>
              <a:gd name="connsiteY7" fmla="*/ 1944216 h 3830941"/>
              <a:gd name="connsiteX8" fmla="*/ 4076001 w 8248507"/>
              <a:gd name="connsiteY8" fmla="*/ 250857 h 3830941"/>
              <a:gd name="connsiteX9" fmla="*/ 589347 w 8248507"/>
              <a:gd name="connsiteY9" fmla="*/ 1944216 h 3830941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606237 w 8418740"/>
              <a:gd name="connsiteY5" fmla="*/ 1944216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606237 w 8418740"/>
              <a:gd name="connsiteY9" fmla="*/ 1944216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18740" h="4008197">
                <a:moveTo>
                  <a:pt x="50580" y="1944216"/>
                </a:moveTo>
                <a:cubicBezTo>
                  <a:pt x="-365816" y="1276183"/>
                  <a:pt x="1860384" y="0"/>
                  <a:pt x="4092891" y="0"/>
                </a:cubicBezTo>
                <a:cubicBezTo>
                  <a:pt x="6325398" y="0"/>
                  <a:pt x="7718806" y="1276183"/>
                  <a:pt x="8135202" y="1944216"/>
                </a:cubicBezTo>
                <a:cubicBezTo>
                  <a:pt x="8551598" y="2612249"/>
                  <a:pt x="8823774" y="4008197"/>
                  <a:pt x="6591267" y="4008197"/>
                </a:cubicBezTo>
                <a:cubicBezTo>
                  <a:pt x="4358760" y="4008197"/>
                  <a:pt x="466976" y="2612249"/>
                  <a:pt x="50580" y="1944216"/>
                </a:cubicBezTo>
                <a:close/>
                <a:moveTo>
                  <a:pt x="577208" y="1603340"/>
                </a:moveTo>
                <a:cubicBezTo>
                  <a:pt x="267646" y="2369905"/>
                  <a:pt x="2897260" y="2666362"/>
                  <a:pt x="4064316" y="2723175"/>
                </a:cubicBezTo>
                <a:cubicBezTo>
                  <a:pt x="5231372" y="2779988"/>
                  <a:pt x="7579545" y="2711096"/>
                  <a:pt x="7579545" y="1944216"/>
                </a:cubicBezTo>
                <a:cubicBezTo>
                  <a:pt x="7579545" y="1177336"/>
                  <a:pt x="5259947" y="307670"/>
                  <a:pt x="4092891" y="250857"/>
                </a:cubicBezTo>
                <a:cubicBezTo>
                  <a:pt x="2925835" y="194044"/>
                  <a:pt x="886770" y="836775"/>
                  <a:pt x="577208" y="1603340"/>
                </a:cubicBezTo>
                <a:close/>
              </a:path>
            </a:pathLst>
          </a:custGeom>
          <a:gradFill>
            <a:gsLst>
              <a:gs pos="0">
                <a:srgbClr val="6BC200"/>
              </a:gs>
              <a:gs pos="50000">
                <a:srgbClr val="6BC2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02412" tIns="51205" rIns="102412" bIns="51205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kern="0" dirty="0" err="1">
              <a:solidFill>
                <a:srgbClr val="676767"/>
              </a:solidFill>
              <a:latin typeface="Arial"/>
            </a:endParaRPr>
          </a:p>
        </p:txBody>
      </p:sp>
      <p:sp>
        <p:nvSpPr>
          <p:cNvPr id="12" name="Rounded Rectangle 14"/>
          <p:cNvSpPr/>
          <p:nvPr/>
        </p:nvSpPr>
        <p:spPr bwMode="auto">
          <a:xfrm>
            <a:off x="6258470" y="3055429"/>
            <a:ext cx="2201932" cy="1903663"/>
          </a:xfrm>
          <a:prstGeom prst="roundRect">
            <a:avLst/>
          </a:prstGeom>
          <a:solidFill>
            <a:srgbClr val="00A7E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kern="0" dirty="0">
                <a:solidFill>
                  <a:srgbClr val="FFFFFF"/>
                </a:solidFill>
                <a:latin typeface="Arial"/>
              </a:rPr>
              <a:t>Э</a:t>
            </a:r>
            <a:r>
              <a:rPr lang="ru-RU" kern="0" dirty="0" smtClean="0">
                <a:solidFill>
                  <a:srgbClr val="FFFFFF"/>
                </a:solidFill>
                <a:latin typeface="Arial"/>
              </a:rPr>
              <a:t>ксперты </a:t>
            </a:r>
            <a:r>
              <a:rPr lang="ru-RU" kern="0" dirty="0">
                <a:solidFill>
                  <a:srgbClr val="FFFFFF"/>
                </a:solidFill>
                <a:latin typeface="Arial"/>
              </a:rPr>
              <a:t>ФРИИ предоставят</a:t>
            </a:r>
          </a:p>
          <a:p>
            <a:pPr algn="ctr"/>
            <a:r>
              <a:rPr lang="ru-RU" kern="0" dirty="0">
                <a:solidFill>
                  <a:srgbClr val="FFFFFF"/>
                </a:solidFill>
                <a:latin typeface="Arial"/>
              </a:rPr>
              <a:t>бизнес-тренинги и практические семинары</a:t>
            </a:r>
            <a:endParaRPr lang="en-US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ounded Rectangle 10"/>
          <p:cNvSpPr/>
          <p:nvPr/>
        </p:nvSpPr>
        <p:spPr bwMode="auto">
          <a:xfrm>
            <a:off x="3116076" y="1749853"/>
            <a:ext cx="2290681" cy="1227804"/>
          </a:xfrm>
          <a:prstGeom prst="roundRect">
            <a:avLst/>
          </a:prstGeom>
          <a:solidFill>
            <a:srgbClr val="00A7E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kern="0" dirty="0" err="1">
                <a:solidFill>
                  <a:srgbClr val="FFFFFF"/>
                </a:solidFill>
                <a:latin typeface="Arial"/>
              </a:rPr>
              <a:t>К</a:t>
            </a:r>
            <a:r>
              <a:rPr lang="ru-RU" kern="0" dirty="0" err="1" smtClean="0">
                <a:solidFill>
                  <a:srgbClr val="FFFFFF"/>
                </a:solidFill>
                <a:latin typeface="Arial"/>
              </a:rPr>
              <a:t>оворкинг</a:t>
            </a:r>
            <a:r>
              <a:rPr lang="ru-RU" kern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ru-RU" kern="0" dirty="0">
                <a:solidFill>
                  <a:srgbClr val="FFFFFF"/>
                </a:solidFill>
                <a:latin typeface="Arial"/>
              </a:rPr>
              <a:t>в московском офисе </a:t>
            </a:r>
            <a:r>
              <a:rPr lang="en-US" kern="0" dirty="0">
                <a:solidFill>
                  <a:srgbClr val="FFFFFF"/>
                </a:solidFill>
                <a:latin typeface="Arial"/>
              </a:rPr>
              <a:t>Bayer</a:t>
            </a:r>
          </a:p>
        </p:txBody>
      </p:sp>
      <p:sp>
        <p:nvSpPr>
          <p:cNvPr id="15" name="Rounded Rectangle 11"/>
          <p:cNvSpPr/>
          <p:nvPr/>
        </p:nvSpPr>
        <p:spPr bwMode="auto">
          <a:xfrm>
            <a:off x="2186850" y="5465560"/>
            <a:ext cx="4332968" cy="999895"/>
          </a:xfrm>
          <a:prstGeom prst="roundRect">
            <a:avLst/>
          </a:prstGeom>
          <a:solidFill>
            <a:srgbClr val="00A7E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kern="0" dirty="0">
                <a:solidFill>
                  <a:srgbClr val="FFFFFF"/>
                </a:solidFill>
                <a:latin typeface="Arial"/>
              </a:rPr>
              <a:t>Р</a:t>
            </a:r>
            <a:r>
              <a:rPr lang="ru-RU" kern="0" dirty="0" smtClean="0">
                <a:solidFill>
                  <a:srgbClr val="FFFFFF"/>
                </a:solidFill>
                <a:latin typeface="Arial"/>
              </a:rPr>
              <a:t>азвитие проектов</a:t>
            </a:r>
            <a:endParaRPr lang="ru-RU" kern="0" dirty="0">
              <a:solidFill>
                <a:srgbClr val="FFFFFF"/>
              </a:solidFill>
              <a:latin typeface="Arial"/>
            </a:endParaRPr>
          </a:p>
          <a:p>
            <a:pPr algn="ctr"/>
            <a:r>
              <a:rPr lang="ru-RU" kern="0" dirty="0">
                <a:solidFill>
                  <a:srgbClr val="FFFFFF"/>
                </a:solidFill>
                <a:latin typeface="Arial"/>
              </a:rPr>
              <a:t>для международных рынков</a:t>
            </a:r>
            <a:endParaRPr lang="en-US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ounded Rectangle 13"/>
          <p:cNvSpPr/>
          <p:nvPr/>
        </p:nvSpPr>
        <p:spPr bwMode="auto">
          <a:xfrm>
            <a:off x="397164" y="3055429"/>
            <a:ext cx="2447138" cy="2161068"/>
          </a:xfrm>
          <a:prstGeom prst="roundRect">
            <a:avLst/>
          </a:prstGeom>
          <a:solidFill>
            <a:srgbClr val="00A7E2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kern="0" dirty="0">
                <a:solidFill>
                  <a:srgbClr val="FFFFFF"/>
                </a:solidFill>
                <a:latin typeface="Arial"/>
              </a:rPr>
              <a:t>Э</a:t>
            </a:r>
            <a:r>
              <a:rPr lang="ru-RU" kern="0" dirty="0" smtClean="0">
                <a:solidFill>
                  <a:srgbClr val="FFFFFF"/>
                </a:solidFill>
                <a:latin typeface="Arial"/>
              </a:rPr>
              <a:t>ксперты </a:t>
            </a:r>
            <a:r>
              <a:rPr lang="en-US" kern="0" dirty="0">
                <a:solidFill>
                  <a:srgbClr val="FFFFFF"/>
                </a:solidFill>
                <a:latin typeface="Arial"/>
              </a:rPr>
              <a:t>Bayer</a:t>
            </a:r>
            <a:r>
              <a:rPr lang="ru-RU" kern="0" dirty="0">
                <a:solidFill>
                  <a:srgbClr val="FFFFFF"/>
                </a:solidFill>
                <a:latin typeface="Arial"/>
              </a:rPr>
              <a:t> предоставят отраслевые консультации в рамках менторских сессий</a:t>
            </a:r>
            <a:endParaRPr lang="en-US" kern="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117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1381" y="698805"/>
            <a:ext cx="2134546" cy="773487"/>
          </a:xfrm>
          <a:prstGeom prst="rect">
            <a:avLst/>
          </a:prstGeom>
        </p:spPr>
      </p:pic>
      <p:pic>
        <p:nvPicPr>
          <p:cNvPr id="13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1749378" y="576105"/>
            <a:ext cx="3995640" cy="1018893"/>
          </a:xfrm>
          <a:prstGeom prst="rect">
            <a:avLst/>
          </a:prstGeom>
        </p:spPr>
      </p:pic>
      <p:sp>
        <p:nvSpPr>
          <p:cNvPr id="14" name="Donut 13"/>
          <p:cNvSpPr/>
          <p:nvPr/>
        </p:nvSpPr>
        <p:spPr bwMode="auto">
          <a:xfrm>
            <a:off x="912018" y="2756926"/>
            <a:ext cx="6696057" cy="3637935"/>
          </a:xfrm>
          <a:custGeom>
            <a:avLst/>
            <a:gdLst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42311 w 8084622"/>
              <a:gd name="connsiteY6" fmla="*/ 33327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980350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0 w 8084622"/>
              <a:gd name="connsiteY0" fmla="*/ 1944216 h 3888432"/>
              <a:gd name="connsiteX1" fmla="*/ 4042311 w 8084622"/>
              <a:gd name="connsiteY1" fmla="*/ 0 h 3888432"/>
              <a:gd name="connsiteX2" fmla="*/ 8084622 w 8084622"/>
              <a:gd name="connsiteY2" fmla="*/ 1944216 h 3888432"/>
              <a:gd name="connsiteX3" fmla="*/ 4042311 w 8084622"/>
              <a:gd name="connsiteY3" fmla="*/ 3888432 h 3888432"/>
              <a:gd name="connsiteX4" fmla="*/ 0 w 8084622"/>
              <a:gd name="connsiteY4" fmla="*/ 1944216 h 3888432"/>
              <a:gd name="connsiteX5" fmla="*/ 555657 w 8084622"/>
              <a:gd name="connsiteY5" fmla="*/ 1944216 h 3888432"/>
              <a:gd name="connsiteX6" fmla="*/ 4004211 w 8084622"/>
              <a:gd name="connsiteY6" fmla="*/ 2799375 h 3888432"/>
              <a:gd name="connsiteX7" fmla="*/ 7528965 w 8084622"/>
              <a:gd name="connsiteY7" fmla="*/ 1944216 h 3888432"/>
              <a:gd name="connsiteX8" fmla="*/ 4042311 w 8084622"/>
              <a:gd name="connsiteY8" fmla="*/ 555657 h 3888432"/>
              <a:gd name="connsiteX9" fmla="*/ 555657 w 8084622"/>
              <a:gd name="connsiteY9" fmla="*/ 1944216 h 3888432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04212 w 8084624"/>
              <a:gd name="connsiteY6" fmla="*/ 27993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1 w 8084624"/>
              <a:gd name="connsiteY0" fmla="*/ 1944216 h 3802707"/>
              <a:gd name="connsiteX1" fmla="*/ 4042312 w 8084624"/>
              <a:gd name="connsiteY1" fmla="*/ 0 h 3802707"/>
              <a:gd name="connsiteX2" fmla="*/ 8084623 w 8084624"/>
              <a:gd name="connsiteY2" fmla="*/ 1944216 h 3802707"/>
              <a:gd name="connsiteX3" fmla="*/ 4032787 w 8084624"/>
              <a:gd name="connsiteY3" fmla="*/ 3802707 h 3802707"/>
              <a:gd name="connsiteX4" fmla="*/ 1 w 8084624"/>
              <a:gd name="connsiteY4" fmla="*/ 1944216 h 3802707"/>
              <a:gd name="connsiteX5" fmla="*/ 555658 w 8084624"/>
              <a:gd name="connsiteY5" fmla="*/ 1944216 h 3802707"/>
              <a:gd name="connsiteX6" fmla="*/ 4013737 w 8084624"/>
              <a:gd name="connsiteY6" fmla="*/ 2723175 h 3802707"/>
              <a:gd name="connsiteX7" fmla="*/ 7528966 w 8084624"/>
              <a:gd name="connsiteY7" fmla="*/ 1944216 h 3802707"/>
              <a:gd name="connsiteX8" fmla="*/ 4042312 w 8084624"/>
              <a:gd name="connsiteY8" fmla="*/ 555657 h 3802707"/>
              <a:gd name="connsiteX9" fmla="*/ 555658 w 8084624"/>
              <a:gd name="connsiteY9" fmla="*/ 1944216 h 3802707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555657 h 3907482"/>
              <a:gd name="connsiteX9" fmla="*/ 555657 w 8084622"/>
              <a:gd name="connsiteY9" fmla="*/ 1944216 h 3907482"/>
              <a:gd name="connsiteX0" fmla="*/ 0 w 8084622"/>
              <a:gd name="connsiteY0" fmla="*/ 1944216 h 3907482"/>
              <a:gd name="connsiteX1" fmla="*/ 4042311 w 8084622"/>
              <a:gd name="connsiteY1" fmla="*/ 0 h 3907482"/>
              <a:gd name="connsiteX2" fmla="*/ 8084622 w 8084622"/>
              <a:gd name="connsiteY2" fmla="*/ 1944216 h 3907482"/>
              <a:gd name="connsiteX3" fmla="*/ 4042311 w 8084622"/>
              <a:gd name="connsiteY3" fmla="*/ 3907482 h 3907482"/>
              <a:gd name="connsiteX4" fmla="*/ 0 w 8084622"/>
              <a:gd name="connsiteY4" fmla="*/ 1944216 h 3907482"/>
              <a:gd name="connsiteX5" fmla="*/ 555657 w 8084622"/>
              <a:gd name="connsiteY5" fmla="*/ 1944216 h 3907482"/>
              <a:gd name="connsiteX6" fmla="*/ 4013736 w 8084622"/>
              <a:gd name="connsiteY6" fmla="*/ 2723175 h 3907482"/>
              <a:gd name="connsiteX7" fmla="*/ 7528965 w 8084622"/>
              <a:gd name="connsiteY7" fmla="*/ 1944216 h 3907482"/>
              <a:gd name="connsiteX8" fmla="*/ 4042311 w 8084622"/>
              <a:gd name="connsiteY8" fmla="*/ 250857 h 3907482"/>
              <a:gd name="connsiteX9" fmla="*/ 555657 w 8084622"/>
              <a:gd name="connsiteY9" fmla="*/ 1944216 h 3907482"/>
              <a:gd name="connsiteX0" fmla="*/ 20491 w 8115835"/>
              <a:gd name="connsiteY0" fmla="*/ 1944216 h 3831282"/>
              <a:gd name="connsiteX1" fmla="*/ 4062802 w 8115835"/>
              <a:gd name="connsiteY1" fmla="*/ 0 h 3831282"/>
              <a:gd name="connsiteX2" fmla="*/ 8105113 w 8115835"/>
              <a:gd name="connsiteY2" fmla="*/ 1944216 h 3831282"/>
              <a:gd name="connsiteX3" fmla="*/ 3015052 w 8115835"/>
              <a:gd name="connsiteY3" fmla="*/ 3831282 h 3831282"/>
              <a:gd name="connsiteX4" fmla="*/ 20491 w 8115835"/>
              <a:gd name="connsiteY4" fmla="*/ 1944216 h 3831282"/>
              <a:gd name="connsiteX5" fmla="*/ 576148 w 8115835"/>
              <a:gd name="connsiteY5" fmla="*/ 1944216 h 3831282"/>
              <a:gd name="connsiteX6" fmla="*/ 4034227 w 8115835"/>
              <a:gd name="connsiteY6" fmla="*/ 2723175 h 3831282"/>
              <a:gd name="connsiteX7" fmla="*/ 7549456 w 8115835"/>
              <a:gd name="connsiteY7" fmla="*/ 1944216 h 3831282"/>
              <a:gd name="connsiteX8" fmla="*/ 4062802 w 8115835"/>
              <a:gd name="connsiteY8" fmla="*/ 250857 h 3831282"/>
              <a:gd name="connsiteX9" fmla="*/ 576148 w 8115835"/>
              <a:gd name="connsiteY9" fmla="*/ 1944216 h 3831282"/>
              <a:gd name="connsiteX0" fmla="*/ 14376 w 8130261"/>
              <a:gd name="connsiteY0" fmla="*/ 1944216 h 3774132"/>
              <a:gd name="connsiteX1" fmla="*/ 4056687 w 8130261"/>
              <a:gd name="connsiteY1" fmla="*/ 0 h 3774132"/>
              <a:gd name="connsiteX2" fmla="*/ 8098998 w 8130261"/>
              <a:gd name="connsiteY2" fmla="*/ 1944216 h 3774132"/>
              <a:gd name="connsiteX3" fmla="*/ 5285412 w 8130261"/>
              <a:gd name="connsiteY3" fmla="*/ 3774132 h 3774132"/>
              <a:gd name="connsiteX4" fmla="*/ 14376 w 8130261"/>
              <a:gd name="connsiteY4" fmla="*/ 1944216 h 3774132"/>
              <a:gd name="connsiteX5" fmla="*/ 570033 w 8130261"/>
              <a:gd name="connsiteY5" fmla="*/ 1944216 h 3774132"/>
              <a:gd name="connsiteX6" fmla="*/ 4028112 w 8130261"/>
              <a:gd name="connsiteY6" fmla="*/ 2723175 h 3774132"/>
              <a:gd name="connsiteX7" fmla="*/ 7543341 w 8130261"/>
              <a:gd name="connsiteY7" fmla="*/ 1944216 h 3774132"/>
              <a:gd name="connsiteX8" fmla="*/ 4056687 w 8130261"/>
              <a:gd name="connsiteY8" fmla="*/ 250857 h 3774132"/>
              <a:gd name="connsiteX9" fmla="*/ 570033 w 8130261"/>
              <a:gd name="connsiteY9" fmla="*/ 1944216 h 3774132"/>
              <a:gd name="connsiteX0" fmla="*/ 10188 w 8113894"/>
              <a:gd name="connsiteY0" fmla="*/ 1944216 h 3793182"/>
              <a:gd name="connsiteX1" fmla="*/ 4052499 w 8113894"/>
              <a:gd name="connsiteY1" fmla="*/ 0 h 3793182"/>
              <a:gd name="connsiteX2" fmla="*/ 8094810 w 8113894"/>
              <a:gd name="connsiteY2" fmla="*/ 1944216 h 3793182"/>
              <a:gd name="connsiteX3" fmla="*/ 5071674 w 8113894"/>
              <a:gd name="connsiteY3" fmla="*/ 3793182 h 3793182"/>
              <a:gd name="connsiteX4" fmla="*/ 10188 w 8113894"/>
              <a:gd name="connsiteY4" fmla="*/ 1944216 h 3793182"/>
              <a:gd name="connsiteX5" fmla="*/ 565845 w 8113894"/>
              <a:gd name="connsiteY5" fmla="*/ 1944216 h 3793182"/>
              <a:gd name="connsiteX6" fmla="*/ 4023924 w 8113894"/>
              <a:gd name="connsiteY6" fmla="*/ 2723175 h 3793182"/>
              <a:gd name="connsiteX7" fmla="*/ 7539153 w 8113894"/>
              <a:gd name="connsiteY7" fmla="*/ 1944216 h 3793182"/>
              <a:gd name="connsiteX8" fmla="*/ 4052499 w 8113894"/>
              <a:gd name="connsiteY8" fmla="*/ 250857 h 3793182"/>
              <a:gd name="connsiteX9" fmla="*/ 565845 w 8113894"/>
              <a:gd name="connsiteY9" fmla="*/ 1944216 h 3793182"/>
              <a:gd name="connsiteX0" fmla="*/ 9492 w 8111434"/>
              <a:gd name="connsiteY0" fmla="*/ 1944216 h 3793182"/>
              <a:gd name="connsiteX1" fmla="*/ 4051803 w 8111434"/>
              <a:gd name="connsiteY1" fmla="*/ 0 h 3793182"/>
              <a:gd name="connsiteX2" fmla="*/ 8094114 w 8111434"/>
              <a:gd name="connsiteY2" fmla="*/ 1944216 h 3793182"/>
              <a:gd name="connsiteX3" fmla="*/ 5032878 w 8111434"/>
              <a:gd name="connsiteY3" fmla="*/ 3793182 h 3793182"/>
              <a:gd name="connsiteX4" fmla="*/ 9492 w 8111434"/>
              <a:gd name="connsiteY4" fmla="*/ 1944216 h 3793182"/>
              <a:gd name="connsiteX5" fmla="*/ 565149 w 8111434"/>
              <a:gd name="connsiteY5" fmla="*/ 1944216 h 3793182"/>
              <a:gd name="connsiteX6" fmla="*/ 4023228 w 8111434"/>
              <a:gd name="connsiteY6" fmla="*/ 2723175 h 3793182"/>
              <a:gd name="connsiteX7" fmla="*/ 7538457 w 8111434"/>
              <a:gd name="connsiteY7" fmla="*/ 1944216 h 3793182"/>
              <a:gd name="connsiteX8" fmla="*/ 4051803 w 8111434"/>
              <a:gd name="connsiteY8" fmla="*/ 250857 h 3793182"/>
              <a:gd name="connsiteX9" fmla="*/ 565149 w 8111434"/>
              <a:gd name="connsiteY9" fmla="*/ 1944216 h 3793182"/>
              <a:gd name="connsiteX0" fmla="*/ 33690 w 8248507"/>
              <a:gd name="connsiteY0" fmla="*/ 1944216 h 3830941"/>
              <a:gd name="connsiteX1" fmla="*/ 4076001 w 8248507"/>
              <a:gd name="connsiteY1" fmla="*/ 0 h 3830941"/>
              <a:gd name="connsiteX2" fmla="*/ 8118312 w 8248507"/>
              <a:gd name="connsiteY2" fmla="*/ 1944216 h 3830941"/>
              <a:gd name="connsiteX3" fmla="*/ 6051863 w 8248507"/>
              <a:gd name="connsiteY3" fmla="*/ 3830941 h 3830941"/>
              <a:gd name="connsiteX4" fmla="*/ 33690 w 8248507"/>
              <a:gd name="connsiteY4" fmla="*/ 1944216 h 3830941"/>
              <a:gd name="connsiteX5" fmla="*/ 589347 w 8248507"/>
              <a:gd name="connsiteY5" fmla="*/ 1944216 h 3830941"/>
              <a:gd name="connsiteX6" fmla="*/ 4047426 w 8248507"/>
              <a:gd name="connsiteY6" fmla="*/ 2723175 h 3830941"/>
              <a:gd name="connsiteX7" fmla="*/ 7562655 w 8248507"/>
              <a:gd name="connsiteY7" fmla="*/ 1944216 h 3830941"/>
              <a:gd name="connsiteX8" fmla="*/ 4076001 w 8248507"/>
              <a:gd name="connsiteY8" fmla="*/ 250857 h 3830941"/>
              <a:gd name="connsiteX9" fmla="*/ 589347 w 8248507"/>
              <a:gd name="connsiteY9" fmla="*/ 1944216 h 3830941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606237 w 8418740"/>
              <a:gd name="connsiteY5" fmla="*/ 1944216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606237 w 8418740"/>
              <a:gd name="connsiteY9" fmla="*/ 1944216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  <a:gd name="connsiteX0" fmla="*/ 50580 w 8418740"/>
              <a:gd name="connsiteY0" fmla="*/ 1944216 h 4008197"/>
              <a:gd name="connsiteX1" fmla="*/ 4092891 w 8418740"/>
              <a:gd name="connsiteY1" fmla="*/ 0 h 4008197"/>
              <a:gd name="connsiteX2" fmla="*/ 8135202 w 8418740"/>
              <a:gd name="connsiteY2" fmla="*/ 1944216 h 4008197"/>
              <a:gd name="connsiteX3" fmla="*/ 6591267 w 8418740"/>
              <a:gd name="connsiteY3" fmla="*/ 4008197 h 4008197"/>
              <a:gd name="connsiteX4" fmla="*/ 50580 w 8418740"/>
              <a:gd name="connsiteY4" fmla="*/ 1944216 h 4008197"/>
              <a:gd name="connsiteX5" fmla="*/ 577208 w 8418740"/>
              <a:gd name="connsiteY5" fmla="*/ 1603340 h 4008197"/>
              <a:gd name="connsiteX6" fmla="*/ 4064316 w 8418740"/>
              <a:gd name="connsiteY6" fmla="*/ 2723175 h 4008197"/>
              <a:gd name="connsiteX7" fmla="*/ 7579545 w 8418740"/>
              <a:gd name="connsiteY7" fmla="*/ 1944216 h 4008197"/>
              <a:gd name="connsiteX8" fmla="*/ 4092891 w 8418740"/>
              <a:gd name="connsiteY8" fmla="*/ 250857 h 4008197"/>
              <a:gd name="connsiteX9" fmla="*/ 577208 w 8418740"/>
              <a:gd name="connsiteY9" fmla="*/ 1603340 h 4008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18740" h="4008197">
                <a:moveTo>
                  <a:pt x="50580" y="1944216"/>
                </a:moveTo>
                <a:cubicBezTo>
                  <a:pt x="-365816" y="1276183"/>
                  <a:pt x="1860384" y="0"/>
                  <a:pt x="4092891" y="0"/>
                </a:cubicBezTo>
                <a:cubicBezTo>
                  <a:pt x="6325398" y="0"/>
                  <a:pt x="7718806" y="1276183"/>
                  <a:pt x="8135202" y="1944216"/>
                </a:cubicBezTo>
                <a:cubicBezTo>
                  <a:pt x="8551598" y="2612249"/>
                  <a:pt x="8823774" y="4008197"/>
                  <a:pt x="6591267" y="4008197"/>
                </a:cubicBezTo>
                <a:cubicBezTo>
                  <a:pt x="4358760" y="4008197"/>
                  <a:pt x="466976" y="2612249"/>
                  <a:pt x="50580" y="1944216"/>
                </a:cubicBezTo>
                <a:close/>
                <a:moveTo>
                  <a:pt x="577208" y="1603340"/>
                </a:moveTo>
                <a:cubicBezTo>
                  <a:pt x="267646" y="2369905"/>
                  <a:pt x="2897260" y="2666362"/>
                  <a:pt x="4064316" y="2723175"/>
                </a:cubicBezTo>
                <a:cubicBezTo>
                  <a:pt x="5231372" y="2779988"/>
                  <a:pt x="7579545" y="2711096"/>
                  <a:pt x="7579545" y="1944216"/>
                </a:cubicBezTo>
                <a:cubicBezTo>
                  <a:pt x="7579545" y="1177336"/>
                  <a:pt x="5259947" y="307670"/>
                  <a:pt x="4092891" y="250857"/>
                </a:cubicBezTo>
                <a:cubicBezTo>
                  <a:pt x="2925835" y="194044"/>
                  <a:pt x="886770" y="836775"/>
                  <a:pt x="577208" y="1603340"/>
                </a:cubicBezTo>
                <a:close/>
              </a:path>
            </a:pathLst>
          </a:custGeom>
          <a:gradFill>
            <a:gsLst>
              <a:gs pos="0">
                <a:srgbClr val="6BC200"/>
              </a:gs>
              <a:gs pos="50000">
                <a:srgbClr val="6BC2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102412" tIns="51205" rIns="102412" bIns="51205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ru-RU" kern="0" dirty="0" err="1">
              <a:solidFill>
                <a:srgbClr val="676767"/>
              </a:solidFill>
              <a:latin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3095" y="2027042"/>
            <a:ext cx="7405842" cy="2781078"/>
          </a:xfrm>
          <a:prstGeom prst="rect">
            <a:avLst/>
          </a:prstGeom>
        </p:spPr>
        <p:txBody>
          <a:bodyPr wrap="square" lIns="102422" tIns="51211" rIns="102422" bIns="51211">
            <a:spAutoFit/>
          </a:bodyPr>
          <a:lstStyle/>
          <a:p>
            <a:pPr algn="ctr" defTabSz="1024115"/>
            <a:r>
              <a:rPr lang="ru-RU" sz="4500" dirty="0">
                <a:latin typeface="Arial Black" panose="020B0A04020102020204" pitchFamily="34" charset="0"/>
              </a:rPr>
              <a:t>Приём заявок</a:t>
            </a:r>
          </a:p>
          <a:p>
            <a:pPr algn="ctr" defTabSz="1024115"/>
            <a:endParaRPr lang="ru-RU" sz="4800" dirty="0">
              <a:latin typeface="Arial Black" panose="020B0A04020102020204" pitchFamily="34" charset="0"/>
            </a:endParaRPr>
          </a:p>
          <a:p>
            <a:pPr algn="ctr" defTabSz="1024115"/>
            <a:r>
              <a:rPr lang="ru-RU" sz="4500" dirty="0">
                <a:latin typeface="Arial Black" panose="020B0A04020102020204" pitchFamily="34" charset="0"/>
              </a:rPr>
              <a:t>до 5 апреля:</a:t>
            </a:r>
          </a:p>
          <a:p>
            <a:pPr algn="ctr" defTabSz="1024115"/>
            <a:r>
              <a:rPr lang="en-US" sz="3600" b="1" dirty="0">
                <a:solidFill>
                  <a:srgbClr val="00B0F0"/>
                </a:solidFill>
                <a:hlinkClick r:id="rId4"/>
              </a:rPr>
              <a:t>edu.iidf.ru/</a:t>
            </a:r>
            <a:r>
              <a:rPr lang="en-US" sz="3600" b="1" dirty="0" err="1">
                <a:solidFill>
                  <a:srgbClr val="00B0F0"/>
                </a:solidFill>
                <a:hlinkClick r:id="rId4"/>
              </a:rPr>
              <a:t>bayer</a:t>
            </a:r>
            <a:endParaRPr lang="ru-RU" sz="3600" b="1" dirty="0">
              <a:solidFill>
                <a:srgbClr val="00B0F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6091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 bwMode="gray">
          <a:xfrm>
            <a:off x="2302434" y="1183532"/>
            <a:ext cx="4502996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4000" dirty="0">
                <a:solidFill>
                  <a:srgbClr val="676767"/>
                </a:solidFill>
                <a:latin typeface="Arial"/>
              </a:rPr>
              <a:t>	       		     </a:t>
            </a:r>
            <a:r>
              <a:rPr lang="ru-RU" sz="4000" dirty="0">
                <a:solidFill>
                  <a:srgbClr val="676767"/>
                </a:solidFill>
                <a:latin typeface="Arial"/>
              </a:rPr>
              <a:t>присоединяйтесь</a:t>
            </a:r>
            <a:r>
              <a:rPr lang="en-US" sz="4000" dirty="0">
                <a:solidFill>
                  <a:srgbClr val="676767"/>
                </a:solidFill>
                <a:latin typeface="Arial"/>
              </a:rPr>
              <a:t>!</a:t>
            </a:r>
            <a:endParaRPr lang="de-DE" sz="4000" dirty="0">
              <a:solidFill>
                <a:srgbClr val="676767"/>
              </a:solidFill>
              <a:latin typeface="Arial"/>
            </a:endParaRPr>
          </a:p>
        </p:txBody>
      </p:sp>
      <p:pic>
        <p:nvPicPr>
          <p:cNvPr id="5" name="Grafik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205818" y="715557"/>
            <a:ext cx="3407846" cy="76417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58888" y="2492898"/>
            <a:ext cx="8522574" cy="584765"/>
          </a:xfrm>
          <a:prstGeom prst="rect">
            <a:avLst/>
          </a:prstGeom>
          <a:solidFill>
            <a:srgbClr val="0BAD2A"/>
          </a:solidFill>
          <a:effectLst/>
        </p:spPr>
        <p:txBody>
          <a:bodyPr wrap="square" lIns="91431" tIns="45715" rIns="91431" bIns="45715">
            <a:spAutoFit/>
          </a:bodyPr>
          <a:lstStyle/>
          <a:p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Web-</a:t>
            </a:r>
            <a:r>
              <a:rPr lang="ru-RU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сайт</a:t>
            </a:r>
            <a:r>
              <a:rPr lang="ru-RU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</a:t>
            </a:r>
            <a:r>
              <a:rPr lang="en-US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</a:t>
            </a:r>
            <a:r>
              <a:rPr lang="de-DE" sz="3200" dirty="0">
                <a:solidFill>
                  <a:srgbClr val="FFFFFF"/>
                </a:solidFill>
                <a:latin typeface="Arial Black" panose="020B0A04020102020204" pitchFamily="34" charset="0"/>
              </a:rPr>
              <a:t>grants4apps.com </a:t>
            </a:r>
            <a:endParaRPr lang="en-US" sz="32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8888" y="3429002"/>
            <a:ext cx="8522574" cy="584775"/>
          </a:xfrm>
          <a:prstGeom prst="rect">
            <a:avLst/>
          </a:prstGeom>
          <a:solidFill>
            <a:srgbClr val="0BAD2A"/>
          </a:solidFill>
          <a:effectLst/>
        </p:spPr>
        <p:txBody>
          <a:bodyPr wrap="square" lIns="91431" tIns="45715" rIns="91431" bIns="45715">
            <a:spAutoFit/>
          </a:bodyPr>
          <a:lstStyle/>
          <a:p>
            <a:r>
              <a:rPr lang="en-US" sz="3200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Facebook</a:t>
            </a:r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 </a:t>
            </a:r>
            <a:r>
              <a:rPr lang="ru-RU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	</a:t>
            </a:r>
            <a:r>
              <a:rPr lang="en-US" sz="3200" dirty="0">
                <a:solidFill>
                  <a:srgbClr val="FFFFFF"/>
                </a:solidFill>
                <a:latin typeface="Arial Black" panose="020B0A04020102020204" pitchFamily="34" charset="0"/>
              </a:rPr>
              <a:t>G4Amoscow </a:t>
            </a:r>
            <a:r>
              <a:rPr lang="de-DE" sz="3200" dirty="0">
                <a:solidFill>
                  <a:srgbClr val="FFFFFF"/>
                </a:solidFill>
                <a:latin typeface="Arial Black" panose="020B0A04020102020204" pitchFamily="34" charset="0"/>
              </a:rPr>
              <a:t> </a:t>
            </a:r>
            <a:endParaRPr lang="en-US" sz="32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5927" y="5373216"/>
            <a:ext cx="8522574" cy="1077208"/>
          </a:xfrm>
          <a:prstGeom prst="rect">
            <a:avLst/>
          </a:prstGeom>
          <a:solidFill>
            <a:srgbClr val="0BAD2A"/>
          </a:solidFill>
          <a:effectLst/>
        </p:spPr>
        <p:txBody>
          <a:bodyPr wrap="square" lIns="91431" tIns="45715" rIns="91431" bIns="45715">
            <a:spAutoFit/>
          </a:bodyPr>
          <a:lstStyle/>
          <a:p>
            <a:r>
              <a:rPr lang="en-US" sz="3200" dirty="0" smtClean="0">
                <a:solidFill>
                  <a:srgbClr val="C00000"/>
                </a:solidFill>
                <a:latin typeface="Arial Black" panose="020B0A04020102020204" pitchFamily="34" charset="0"/>
              </a:rPr>
              <a:t>Meetup.com</a:t>
            </a:r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 </a:t>
            </a:r>
            <a:r>
              <a:rPr lang="ru-RU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</a:t>
            </a:r>
            <a:r>
              <a:rPr lang="en-US" sz="3200" dirty="0">
                <a:solidFill>
                  <a:srgbClr val="FFFFFF"/>
                </a:solidFill>
                <a:latin typeface="Arial Black" panose="020B0A04020102020204" pitchFamily="34" charset="0"/>
              </a:rPr>
              <a:t>STEM 4 Health &amp; </a:t>
            </a:r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					</a:t>
            </a:r>
            <a:r>
              <a:rPr lang="en-US" sz="3200" dirty="0" err="1" smtClean="0">
                <a:solidFill>
                  <a:srgbClr val="FFFFFF"/>
                </a:solidFill>
                <a:latin typeface="Arial Black" panose="020B0A04020102020204" pitchFamily="34" charset="0"/>
              </a:rPr>
              <a:t>AgTech</a:t>
            </a:r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 </a:t>
            </a:r>
            <a:r>
              <a:rPr lang="en-US" sz="3200" dirty="0">
                <a:solidFill>
                  <a:srgbClr val="FFFFFF"/>
                </a:solidFill>
                <a:latin typeface="Arial Black" panose="020B0A04020102020204" pitchFamily="34" charset="0"/>
              </a:rPr>
              <a:t>- Moscow</a:t>
            </a:r>
            <a:endParaRPr lang="en-US" sz="32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sp>
        <p:nvSpPr>
          <p:cNvPr id="14" name="Rectangle 7"/>
          <p:cNvSpPr/>
          <p:nvPr/>
        </p:nvSpPr>
        <p:spPr>
          <a:xfrm>
            <a:off x="358888" y="4365110"/>
            <a:ext cx="8522574" cy="584765"/>
          </a:xfrm>
          <a:prstGeom prst="rect">
            <a:avLst/>
          </a:prstGeom>
          <a:solidFill>
            <a:srgbClr val="0BAD2A"/>
          </a:solidFill>
          <a:effectLst/>
        </p:spPr>
        <p:txBody>
          <a:bodyPr wrap="square" lIns="91431" tIns="45715" rIns="91431" bIns="45715">
            <a:spAutoFit/>
          </a:bodyPr>
          <a:lstStyle/>
          <a:p>
            <a:r>
              <a:rPr lang="ru-RU" sz="3200" dirty="0" err="1" smtClean="0">
                <a:solidFill>
                  <a:srgbClr val="FFFFFF"/>
                </a:solidFill>
                <a:latin typeface="Arial Black" panose="020B0A04020102020204" pitchFamily="34" charset="0"/>
              </a:rPr>
              <a:t>Вконтакте</a:t>
            </a:r>
            <a:r>
              <a:rPr lang="ru-RU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</a:t>
            </a:r>
            <a:r>
              <a:rPr lang="en-US" sz="3200" dirty="0">
                <a:solidFill>
                  <a:srgbClr val="FFFFFF"/>
                </a:solidFill>
                <a:latin typeface="Arial Black" panose="020B0A04020102020204" pitchFamily="34" charset="0"/>
              </a:rPr>
              <a:t>	</a:t>
            </a:r>
            <a:r>
              <a:rPr lang="en-US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G4Amoscow</a:t>
            </a:r>
            <a:r>
              <a:rPr lang="de-DE" sz="320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 </a:t>
            </a:r>
            <a:endParaRPr lang="en-US" sz="3200" dirty="0">
              <a:solidFill>
                <a:prstClr val="black"/>
              </a:solidFill>
              <a:latin typeface="Arial Black" panose="020B0A040201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06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 bwMode="gray">
          <a:xfrm>
            <a:off x="4426601" y="3860800"/>
            <a:ext cx="4595252" cy="155865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lang="ru-RU" dirty="0" err="1" smtClean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676767"/>
                </a:solidFill>
              </a:rPr>
              <a:t>Лига Знаний «Естественный интеллект»</a:t>
            </a:r>
            <a:endParaRPr lang="ru-RU" dirty="0">
              <a:solidFill>
                <a:srgbClr val="676767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 bwMode="gray">
          <a:xfrm>
            <a:off x="4525608" y="1195490"/>
            <a:ext cx="4619980" cy="18063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Интерактивное тестирование по:</a:t>
            </a:r>
          </a:p>
          <a:p>
            <a:pPr marL="270000" lvl="1" indent="-270000">
              <a:buBlip>
                <a:blip r:embed="rId2"/>
              </a:buBlip>
            </a:pP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биологии, </a:t>
            </a:r>
          </a:p>
          <a:p>
            <a:pPr marL="539750" lvl="2" indent="-269875">
              <a:buBlip>
                <a:blip r:embed="rId3"/>
              </a:buBlip>
            </a:pP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химии, </a:t>
            </a:r>
          </a:p>
          <a:p>
            <a:pPr lvl="0" indent="542925"/>
            <a:r>
              <a:rPr lang="ru-RU" dirty="0">
                <a:solidFill>
                  <a:srgbClr val="7030A0"/>
                </a:solidFill>
              </a:rPr>
              <a:t>// </a:t>
            </a: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физике,</a:t>
            </a:r>
          </a:p>
          <a:p>
            <a:pPr indent="720725">
              <a:spcAft>
                <a:spcPts val="600"/>
              </a:spcAft>
            </a:pPr>
            <a:r>
              <a:rPr lang="ru-RU" dirty="0">
                <a:solidFill>
                  <a:srgbClr val="D30F4B"/>
                </a:solidFill>
              </a:rPr>
              <a:t>//</a:t>
            </a:r>
            <a:r>
              <a:rPr lang="ru-RU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географии.</a:t>
            </a:r>
          </a:p>
          <a:p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Более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en-US" sz="2400" b="1" dirty="0" smtClean="0">
                <a:solidFill>
                  <a:schemeClr val="accent2"/>
                </a:solidFill>
              </a:rPr>
              <a:t>5 000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участников </a:t>
            </a:r>
            <a:r>
              <a:rPr lang="ru-RU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из</a:t>
            </a:r>
            <a:r>
              <a:rPr lang="ru-RU" b="1" dirty="0">
                <a:solidFill>
                  <a:schemeClr val="accent1"/>
                </a:solidFill>
              </a:rPr>
              <a:t> </a:t>
            </a:r>
            <a:r>
              <a:rPr lang="en-US" sz="2400" b="1" dirty="0" smtClean="0">
                <a:solidFill>
                  <a:schemeClr val="accent2"/>
                </a:solidFill>
              </a:rPr>
              <a:t>85</a:t>
            </a:r>
            <a:r>
              <a:rPr lang="ru-RU" sz="2400" b="1" dirty="0">
                <a:solidFill>
                  <a:schemeClr val="accent1"/>
                </a:solidFill>
              </a:rPr>
              <a:t> </a:t>
            </a:r>
            <a:r>
              <a:rPr lang="ru-RU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регионов </a:t>
            </a:r>
            <a:endParaRPr lang="en-US" dirty="0">
              <a:solidFill>
                <a:srgbClr val="676767"/>
              </a:solidFill>
              <a:latin typeface="+mj-lt"/>
              <a:ea typeface="+mj-ea"/>
              <a:cs typeface="+mj-cs"/>
            </a:endParaRPr>
          </a:p>
          <a:p>
            <a:r>
              <a:rPr lang="en-US" sz="2400" b="1" dirty="0" smtClean="0">
                <a:solidFill>
                  <a:schemeClr val="accent2"/>
                </a:solidFill>
              </a:rPr>
              <a:t>11</a:t>
            </a:r>
            <a:r>
              <a:rPr lang="en-US" b="1" dirty="0" smtClean="0">
                <a:solidFill>
                  <a:schemeClr val="accent1"/>
                </a:solidFill>
              </a:rPr>
              <a:t> </a:t>
            </a:r>
            <a:r>
              <a:rPr lang="ru-RU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научных </a:t>
            </a:r>
            <a:r>
              <a:rPr lang="ru-RU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партнеров</a:t>
            </a:r>
          </a:p>
          <a:p>
            <a:pPr>
              <a:spcAft>
                <a:spcPts val="1200"/>
              </a:spcAft>
            </a:pPr>
            <a:r>
              <a:rPr lang="ru-RU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Старт второго сезона – </a:t>
            </a:r>
            <a:r>
              <a:rPr lang="ru-RU" sz="2400" b="1" dirty="0">
                <a:solidFill>
                  <a:schemeClr val="accent2"/>
                </a:solidFill>
              </a:rPr>
              <a:t>9 </a:t>
            </a:r>
            <a:r>
              <a:rPr lang="ru-RU" sz="2400" b="1" dirty="0" smtClean="0">
                <a:solidFill>
                  <a:schemeClr val="accent2"/>
                </a:solidFill>
              </a:rPr>
              <a:t>апреля</a:t>
            </a:r>
          </a:p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Играйте в науку! Прокачайте свой интеллект!</a:t>
            </a:r>
          </a:p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Регистрация </a:t>
            </a:r>
            <a:r>
              <a:rPr lang="ru-RU" b="1" dirty="0">
                <a:solidFill>
                  <a:srgbClr val="676767"/>
                </a:solidFill>
                <a:latin typeface="+mj-lt"/>
                <a:ea typeface="+mj-ea"/>
                <a:cs typeface="+mj-cs"/>
              </a:rPr>
              <a:t>на сайте: </a:t>
            </a:r>
          </a:p>
          <a:p>
            <a:pPr>
              <a:spcAft>
                <a:spcPts val="1000"/>
              </a:spcAft>
            </a:pPr>
            <a:r>
              <a:rPr lang="en-US" sz="2400" b="1" dirty="0">
                <a:solidFill>
                  <a:schemeClr val="accent2"/>
                </a:solidFill>
              </a:rPr>
              <a:t>www.lifescience-liga.ru</a:t>
            </a:r>
          </a:p>
          <a:p>
            <a:pPr>
              <a:spcAft>
                <a:spcPts val="1000"/>
              </a:spcAft>
            </a:pPr>
            <a:endParaRPr lang="ru-RU" dirty="0" err="1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10"/>
          <a:stretch/>
        </p:blipFill>
        <p:spPr bwMode="auto">
          <a:xfrm>
            <a:off x="196575" y="1265383"/>
            <a:ext cx="4178508" cy="3015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8"/>
          <a:stretch/>
        </p:blipFill>
        <p:spPr bwMode="auto">
          <a:xfrm>
            <a:off x="6301196" y="5501754"/>
            <a:ext cx="1270936" cy="1060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876"/>
          <a:stretch/>
        </p:blipFill>
        <p:spPr bwMode="auto">
          <a:xfrm>
            <a:off x="2992594" y="4535054"/>
            <a:ext cx="1382488" cy="194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77" t="522" r="5170" b="-522"/>
          <a:stretch/>
        </p:blipFill>
        <p:spPr bwMode="auto">
          <a:xfrm>
            <a:off x="196575" y="4535055"/>
            <a:ext cx="2735311" cy="1949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417" y="5501754"/>
            <a:ext cx="1540090" cy="9779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2" t="2275" r="3755" b="4142"/>
          <a:stretch/>
        </p:blipFill>
        <p:spPr bwMode="auto">
          <a:xfrm>
            <a:off x="7721600" y="5420106"/>
            <a:ext cx="1300253" cy="1152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95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95" r="29095"/>
          <a:stretch>
            <a:fillRect/>
          </a:stretch>
        </p:blipFill>
        <p:spPr/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95275" y="1981602"/>
            <a:ext cx="4461451" cy="1620000"/>
          </a:xfrm>
        </p:spPr>
        <p:txBody>
          <a:bodyPr/>
          <a:lstStyle/>
          <a:p>
            <a:r>
              <a:rPr lang="ru-RU" sz="3200" dirty="0" smtClean="0"/>
              <a:t>Спасибо</a:t>
            </a:r>
            <a:r>
              <a:rPr lang="ru-RU" dirty="0" smtClean="0"/>
              <a:t> </a:t>
            </a:r>
            <a:r>
              <a:rPr lang="ru-RU" sz="3200" dirty="0" smtClean="0"/>
              <a:t>за внимание</a:t>
            </a:r>
            <a:r>
              <a:rPr lang="en-US" sz="3200" dirty="0" smtClean="0"/>
              <a:t>!</a:t>
            </a:r>
            <a:endParaRPr lang="en-US" sz="32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9926" y="3139859"/>
            <a:ext cx="3508584" cy="1080000"/>
          </a:xfrm>
        </p:spPr>
        <p:txBody>
          <a:bodyPr/>
          <a:lstStyle/>
          <a:p>
            <a:r>
              <a:rPr lang="ru-RU" dirty="0" smtClean="0"/>
              <a:t>Есть вопросы по стажировкам? </a:t>
            </a:r>
            <a:r>
              <a:rPr lang="ru-RU" u="sng" dirty="0" smtClean="0">
                <a:hlinkClick r:id="rId4"/>
              </a:rPr>
              <a:t>internship.ru@bayer.com</a:t>
            </a:r>
            <a:endParaRPr lang="ru-RU" u="sng" dirty="0" smtClean="0"/>
          </a:p>
          <a:p>
            <a:endParaRPr lang="ru-RU" u="sng" dirty="0"/>
          </a:p>
          <a:p>
            <a:r>
              <a:rPr lang="ru-RU" dirty="0" smtClean="0"/>
              <a:t>Есть вопросы по </a:t>
            </a:r>
            <a:r>
              <a:rPr lang="en-US" dirty="0" smtClean="0"/>
              <a:t>Grants4Apps?</a:t>
            </a:r>
          </a:p>
          <a:p>
            <a:r>
              <a:rPr lang="en-US" dirty="0" smtClean="0">
                <a:hlinkClick r:id="rId5"/>
              </a:rPr>
              <a:t>anastasia.ashirova@bayer.com</a:t>
            </a:r>
            <a:r>
              <a:rPr lang="en-US" dirty="0" smtClean="0"/>
              <a:t> </a:t>
            </a:r>
            <a:endParaRPr lang="ru-R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18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el 5"/>
          <p:cNvSpPr txBox="1">
            <a:spLocks/>
          </p:cNvSpPr>
          <p:nvPr/>
        </p:nvSpPr>
        <p:spPr bwMode="gray">
          <a:xfrm>
            <a:off x="1170740" y="338713"/>
            <a:ext cx="7059250" cy="8863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Наша миссия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ayer: Science For A Better Life</a:t>
            </a:r>
            <a:endParaRPr lang="en-US" dirty="0"/>
          </a:p>
        </p:txBody>
      </p:sp>
      <p:sp>
        <p:nvSpPr>
          <p:cNvPr id="8" name="Fußzeilenplatzhalter 2"/>
          <p:cNvSpPr txBox="1">
            <a:spLocks/>
          </p:cNvSpPr>
          <p:nvPr/>
        </p:nvSpPr>
        <p:spPr bwMode="gray">
          <a:xfrm>
            <a:off x="871531" y="6598028"/>
            <a:ext cx="1625727" cy="123453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grpSp>
        <p:nvGrpSpPr>
          <p:cNvPr id="10" name="Gruppieren 11"/>
          <p:cNvGrpSpPr/>
          <p:nvPr/>
        </p:nvGrpSpPr>
        <p:grpSpPr>
          <a:xfrm>
            <a:off x="6644363" y="4187638"/>
            <a:ext cx="1882964" cy="1887869"/>
            <a:chOff x="6305990" y="4506755"/>
            <a:chExt cx="1218622" cy="1218624"/>
          </a:xfrm>
        </p:grpSpPr>
        <p:sp>
          <p:nvSpPr>
            <p:cNvPr id="11" name="Donut 89"/>
            <p:cNvSpPr/>
            <p:nvPr/>
          </p:nvSpPr>
          <p:spPr bwMode="gray">
            <a:xfrm rot="10095850">
              <a:off x="6305990" y="4506755"/>
              <a:ext cx="1218622" cy="1218624"/>
            </a:xfrm>
            <a:prstGeom prst="donut">
              <a:avLst>
                <a:gd name="adj" fmla="val 5342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13" name="Picture 9" descr="X:\_KO_JOBS\Bag\BAG_UP2015_06_GJ2015_01\WORK\OUR_MISSION\Our_Mission_15_People_jogging_in_rural_area_3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1301" y="4612067"/>
              <a:ext cx="10080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uppieren 14"/>
          <p:cNvGrpSpPr/>
          <p:nvPr/>
        </p:nvGrpSpPr>
        <p:grpSpPr>
          <a:xfrm>
            <a:off x="2313819" y="1942446"/>
            <a:ext cx="2563081" cy="2569755"/>
            <a:chOff x="2379921" y="1862248"/>
            <a:chExt cx="2562636" cy="2562637"/>
          </a:xfrm>
        </p:grpSpPr>
        <p:sp>
          <p:nvSpPr>
            <p:cNvPr id="15" name="Donut 79"/>
            <p:cNvSpPr/>
            <p:nvPr/>
          </p:nvSpPr>
          <p:spPr bwMode="gray">
            <a:xfrm rot="19596539">
              <a:off x="2379921" y="1862248"/>
              <a:ext cx="2562636" cy="2562637"/>
            </a:xfrm>
            <a:prstGeom prst="donut">
              <a:avLst>
                <a:gd name="adj" fmla="val 2625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16" name="Picture 4" descr="X:\_KO_JOBS\Bag\BAG_UP2015_06_GJ2015_01\WORK\OUR_MISSION\Our_Mission_03_Babies_lying_on_a_sheepskin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9239" y="1991722"/>
              <a:ext cx="2304000" cy="23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" name="Donut 96"/>
          <p:cNvSpPr/>
          <p:nvPr/>
        </p:nvSpPr>
        <p:spPr bwMode="gray">
          <a:xfrm rot="20027886">
            <a:off x="37471" y="2259184"/>
            <a:ext cx="1577285" cy="1581394"/>
          </a:xfrm>
          <a:prstGeom prst="donut">
            <a:avLst>
              <a:gd name="adj" fmla="val 5342"/>
            </a:avLst>
          </a:prstGeom>
          <a:gradFill>
            <a:gsLst>
              <a:gs pos="77000">
                <a:schemeClr val="accent2">
                  <a:lumMod val="60000"/>
                  <a:lumOff val="40000"/>
                </a:schemeClr>
              </a:gs>
              <a:gs pos="51000">
                <a:schemeClr val="accent1">
                  <a:lumMod val="60000"/>
                  <a:lumOff val="40000"/>
                </a:schemeClr>
              </a:gs>
              <a:gs pos="11000">
                <a:schemeClr val="bg1">
                  <a:alpha val="0"/>
                </a:schemeClr>
              </a:gs>
              <a:gs pos="100000">
                <a:schemeClr val="accent2"/>
              </a:gs>
            </a:gsLst>
            <a:lin ang="162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smtClean="0"/>
          </a:p>
        </p:txBody>
      </p:sp>
      <p:pic>
        <p:nvPicPr>
          <p:cNvPr id="18" name="Picture 5" descr="X:\_KO_JOBS\Bag\BAG_UP2015_06_GJ2015_01\WORK\OUR_MISSION\Our_Mission_06_Cardiologist_at_a_microscope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997" y="2381375"/>
            <a:ext cx="1332231" cy="133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uppieren 20"/>
          <p:cNvGrpSpPr/>
          <p:nvPr/>
        </p:nvGrpSpPr>
        <p:grpSpPr>
          <a:xfrm>
            <a:off x="5362343" y="1785923"/>
            <a:ext cx="2520438" cy="2527001"/>
            <a:chOff x="5440497" y="2053370"/>
            <a:chExt cx="2520000" cy="2520001"/>
          </a:xfrm>
        </p:grpSpPr>
        <p:sp>
          <p:nvSpPr>
            <p:cNvPr id="20" name="Donut 82"/>
            <p:cNvSpPr>
              <a:spLocks noChangeAspect="1"/>
            </p:cNvSpPr>
            <p:nvPr/>
          </p:nvSpPr>
          <p:spPr bwMode="gray">
            <a:xfrm rot="3324449">
              <a:off x="5440496" y="2053371"/>
              <a:ext cx="2520001" cy="2520000"/>
            </a:xfrm>
            <a:prstGeom prst="donut">
              <a:avLst>
                <a:gd name="adj" fmla="val 2625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21" name="Picture 7" descr="X:\_KO_JOBS\Bag\BAG_UP2015_06_GJ2015_01\WORK\OUR_MISSION\Our_Mission_11_Grandmother_and_daughter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5433" y="2178308"/>
              <a:ext cx="2270125" cy="2270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" name="Gruppieren 23"/>
          <p:cNvGrpSpPr/>
          <p:nvPr/>
        </p:nvGrpSpPr>
        <p:grpSpPr>
          <a:xfrm>
            <a:off x="7503270" y="3097090"/>
            <a:ext cx="1453443" cy="1457230"/>
            <a:chOff x="2632572" y="4393739"/>
            <a:chExt cx="1218622" cy="1218624"/>
          </a:xfrm>
        </p:grpSpPr>
        <p:sp>
          <p:nvSpPr>
            <p:cNvPr id="23" name="Donut 95"/>
            <p:cNvSpPr/>
            <p:nvPr/>
          </p:nvSpPr>
          <p:spPr bwMode="gray">
            <a:xfrm rot="10800000">
              <a:off x="2632572" y="4393739"/>
              <a:ext cx="1218622" cy="1218624"/>
            </a:xfrm>
            <a:prstGeom prst="donut">
              <a:avLst>
                <a:gd name="adj" fmla="val 5342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24" name="Picture 12" descr="X:\_KO_JOBS\Bag\BAG_UP2015_06_GJ2015_01\WORK\OUR_MISSION\Our_Mission_Examining_corn_cobs.pn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5882" y="4517051"/>
              <a:ext cx="972000" cy="9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uppieren 26"/>
          <p:cNvGrpSpPr/>
          <p:nvPr/>
        </p:nvGrpSpPr>
        <p:grpSpPr>
          <a:xfrm>
            <a:off x="4529026" y="1521194"/>
            <a:ext cx="1435077" cy="1438816"/>
            <a:chOff x="4732377" y="1808911"/>
            <a:chExt cx="1218622" cy="1218624"/>
          </a:xfrm>
        </p:grpSpPr>
        <p:sp>
          <p:nvSpPr>
            <p:cNvPr id="26" name="Donut 92"/>
            <p:cNvSpPr/>
            <p:nvPr/>
          </p:nvSpPr>
          <p:spPr bwMode="gray">
            <a:xfrm rot="740110">
              <a:off x="4732377" y="1808911"/>
              <a:ext cx="1218622" cy="1218624"/>
            </a:xfrm>
            <a:prstGeom prst="donut">
              <a:avLst>
                <a:gd name="adj" fmla="val 5342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27" name="Picture 6" descr="X:\_KO_JOBS\Bag\BAG_UP2015_06_GJ2015_01\WORK\OUR_MISSION\Our_Mission_10_Girl holds puppy on backe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5688" y="1950537"/>
              <a:ext cx="972000" cy="9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8" name="Gruppieren 29"/>
          <p:cNvGrpSpPr>
            <a:grpSpLocks noChangeAspect="1"/>
          </p:cNvGrpSpPr>
          <p:nvPr/>
        </p:nvGrpSpPr>
        <p:grpSpPr>
          <a:xfrm>
            <a:off x="4105751" y="3709152"/>
            <a:ext cx="2610452" cy="2617250"/>
            <a:chOff x="3820999" y="3552938"/>
            <a:chExt cx="2562636" cy="2562637"/>
          </a:xfrm>
        </p:grpSpPr>
        <p:sp>
          <p:nvSpPr>
            <p:cNvPr id="29" name="Donut 85"/>
            <p:cNvSpPr/>
            <p:nvPr/>
          </p:nvSpPr>
          <p:spPr bwMode="gray">
            <a:xfrm rot="12708566">
              <a:off x="3820999" y="3552938"/>
              <a:ext cx="2562636" cy="2562637"/>
            </a:xfrm>
            <a:prstGeom prst="donut">
              <a:avLst>
                <a:gd name="adj" fmla="val 2625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30" name="Picture 14" descr="X:\_KO_JOBS\Bag\BAG_UP2015_06_GJ2015_01\WORK\OUR_MISSION\Our_Mission_Pharma_Researcher_with_Aspirin_tablet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0317" y="3699191"/>
              <a:ext cx="2304000" cy="23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" name="Donut 100"/>
          <p:cNvSpPr/>
          <p:nvPr/>
        </p:nvSpPr>
        <p:spPr bwMode="gray">
          <a:xfrm rot="6284988">
            <a:off x="1198031" y="1513098"/>
            <a:ext cx="1511788" cy="1507862"/>
          </a:xfrm>
          <a:prstGeom prst="donut">
            <a:avLst>
              <a:gd name="adj" fmla="val 5342"/>
            </a:avLst>
          </a:prstGeom>
          <a:gradFill>
            <a:gsLst>
              <a:gs pos="77000">
                <a:schemeClr val="accent2">
                  <a:lumMod val="60000"/>
                  <a:lumOff val="40000"/>
                </a:schemeClr>
              </a:gs>
              <a:gs pos="51000">
                <a:schemeClr val="accent1">
                  <a:lumMod val="60000"/>
                  <a:lumOff val="40000"/>
                </a:schemeClr>
              </a:gs>
              <a:gs pos="11000">
                <a:schemeClr val="bg1">
                  <a:alpha val="0"/>
                </a:schemeClr>
              </a:gs>
              <a:gs pos="100000">
                <a:schemeClr val="accent2"/>
              </a:gs>
            </a:gsLst>
            <a:lin ang="16200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smtClean="0"/>
          </a:p>
        </p:txBody>
      </p:sp>
      <p:pic>
        <p:nvPicPr>
          <p:cNvPr id="32" name="Picture 8" descr="X:\_KO_JOBS\Bag\BAG_UP2015_06_GJ2015_01\WORK\OUR_MISSION\Our_Mission_14_Mature_couple_at_home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2573" y="1658541"/>
            <a:ext cx="1202704" cy="1205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pieren 35"/>
          <p:cNvGrpSpPr/>
          <p:nvPr/>
        </p:nvGrpSpPr>
        <p:grpSpPr>
          <a:xfrm>
            <a:off x="130057" y="3392031"/>
            <a:ext cx="2563081" cy="2569757"/>
            <a:chOff x="392253" y="3203624"/>
            <a:chExt cx="2562636" cy="2562639"/>
          </a:xfrm>
        </p:grpSpPr>
        <p:sp>
          <p:nvSpPr>
            <p:cNvPr id="34" name="Donut 77"/>
            <p:cNvSpPr/>
            <p:nvPr/>
          </p:nvSpPr>
          <p:spPr bwMode="gray">
            <a:xfrm rot="16423877">
              <a:off x="392251" y="3203626"/>
              <a:ext cx="2562639" cy="2562636"/>
            </a:xfrm>
            <a:prstGeom prst="donut">
              <a:avLst>
                <a:gd name="adj" fmla="val 2625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35" name="Picture 2" descr="X:\_KO_JOBS\Bag\BAG_UP2015_06_GJ2015_01\WORK\OUR_MISSION\Our_Mission_01_Aspirin_formulation_test_1e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1570" y="3332944"/>
              <a:ext cx="2304000" cy="23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uppieren 38"/>
          <p:cNvGrpSpPr/>
          <p:nvPr/>
        </p:nvGrpSpPr>
        <p:grpSpPr>
          <a:xfrm>
            <a:off x="2398646" y="4213833"/>
            <a:ext cx="1818462" cy="1823196"/>
            <a:chOff x="1101661" y="1563022"/>
            <a:chExt cx="1512270" cy="1512270"/>
          </a:xfrm>
        </p:grpSpPr>
        <p:sp>
          <p:nvSpPr>
            <p:cNvPr id="37" name="Donut 73"/>
            <p:cNvSpPr/>
            <p:nvPr/>
          </p:nvSpPr>
          <p:spPr bwMode="gray">
            <a:xfrm rot="19114149">
              <a:off x="1101661" y="1563022"/>
              <a:ext cx="1512270" cy="1512270"/>
            </a:xfrm>
            <a:prstGeom prst="donut">
              <a:avLst>
                <a:gd name="adj" fmla="val 3886"/>
              </a:avLst>
            </a:prstGeom>
            <a:gradFill>
              <a:gsLst>
                <a:gs pos="77000">
                  <a:schemeClr val="accent2">
                    <a:lumMod val="60000"/>
                    <a:lumOff val="40000"/>
                  </a:schemeClr>
                </a:gs>
                <a:gs pos="51000">
                  <a:schemeClr val="accent1">
                    <a:lumMod val="60000"/>
                    <a:lumOff val="40000"/>
                  </a:schemeClr>
                </a:gs>
                <a:gs pos="11000">
                  <a:schemeClr val="bg1">
                    <a:alpha val="0"/>
                  </a:schemeClr>
                </a:gs>
                <a:gs pos="100000">
                  <a:schemeClr val="accent2"/>
                </a:gs>
              </a:gsLst>
              <a:lin ang="16200000" scaled="0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 smtClean="0"/>
            </a:p>
          </p:txBody>
        </p:sp>
        <p:pic>
          <p:nvPicPr>
            <p:cNvPr id="38" name="Picture 10" descr="X:\_KO_JOBS\Bag\BAG_UP2015_06_GJ2015_01\WORK\OUR_MISSION\Our_Mission_16_Rice_cultivation_2.png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1796" y="1653157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8052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разделения компании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56" y="1732751"/>
            <a:ext cx="8959272" cy="4637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58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чать карьеру в </a:t>
            </a:r>
            <a:r>
              <a:rPr lang="en-US" dirty="0" smtClean="0"/>
              <a:t>Bayer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588168" y="1816013"/>
            <a:ext cx="4044392" cy="1222752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Программа стажировок</a:t>
            </a:r>
            <a:r>
              <a:rPr lang="en-US" dirty="0"/>
              <a:t>:</a:t>
            </a:r>
            <a:endParaRPr lang="ru-RU" dirty="0" smtClean="0"/>
          </a:p>
          <a:p>
            <a:pPr marL="0" indent="0">
              <a:buNone/>
            </a:pPr>
            <a:r>
              <a:rPr lang="en-US" sz="3200" i="1" dirty="0">
                <a:solidFill>
                  <a:srgbClr val="00BCFF"/>
                </a:solidFill>
              </a:rPr>
              <a:t>Start Your Bayer LIFE 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168" y="3278738"/>
            <a:ext cx="4355334" cy="290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6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 программе: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type="body" sz="quarter" idx="14"/>
          </p:nvPr>
        </p:nvSpPr>
        <p:spPr>
          <a:xfrm>
            <a:off x="981820" y="1871484"/>
            <a:ext cx="7747201" cy="4752000"/>
          </a:xfrm>
        </p:spPr>
        <p:txBody>
          <a:bodyPr/>
          <a:lstStyle/>
          <a:p>
            <a:r>
              <a:rPr lang="ru-RU" dirty="0" smtClean="0"/>
              <a:t> -  </a:t>
            </a:r>
            <a:r>
              <a:rPr lang="ru-RU" i="1" dirty="0" smtClean="0">
                <a:solidFill>
                  <a:srgbClr val="002060"/>
                </a:solidFill>
              </a:rPr>
              <a:t>Открытие набора в мае 2018 года</a:t>
            </a:r>
          </a:p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rgbClr val="002060"/>
                </a:solidFill>
              </a:rPr>
              <a:t>Узнать о конкретных стажировках можно на </a:t>
            </a:r>
            <a:r>
              <a:rPr lang="en-US" i="1" dirty="0" smtClean="0">
                <a:solidFill>
                  <a:srgbClr val="002060"/>
                </a:solidFill>
              </a:rPr>
              <a:t>Bayer.com</a:t>
            </a:r>
            <a:r>
              <a:rPr lang="ru-RU" i="1" dirty="0" smtClean="0">
                <a:solidFill>
                  <a:srgbClr val="002060"/>
                </a:solidFill>
              </a:rPr>
              <a:t> в разделе вакансии или на сайте </a:t>
            </a:r>
            <a:r>
              <a:rPr lang="en-US" i="1" dirty="0" smtClean="0">
                <a:solidFill>
                  <a:srgbClr val="002060"/>
                </a:solidFill>
              </a:rPr>
              <a:t>hh.ru</a:t>
            </a:r>
          </a:p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rgbClr val="002060"/>
                </a:solidFill>
              </a:rPr>
              <a:t>Стажировка оплачиваемая </a:t>
            </a:r>
          </a:p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rgbClr val="002060"/>
                </a:solidFill>
              </a:rPr>
              <a:t>Рассматриваются выпускники бакалавриата или магистратуры </a:t>
            </a:r>
          </a:p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rgbClr val="002060"/>
                </a:solidFill>
              </a:rPr>
              <a:t>Возможность работать от 20 часов в неделю </a:t>
            </a:r>
          </a:p>
          <a:p>
            <a:pPr marL="285750" indent="-285750">
              <a:buFontTx/>
              <a:buChar char="-"/>
            </a:pPr>
            <a:r>
              <a:rPr lang="ru-RU" i="1" dirty="0" smtClean="0">
                <a:solidFill>
                  <a:srgbClr val="002060"/>
                </a:solidFill>
              </a:rPr>
              <a:t>Длительность стажировки от 3 месяцев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525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помогает нам быть лучше? 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/// Bayer презентация для ВУЗа// Март 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Picture 49" descr="LIF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9918" y="1533347"/>
            <a:ext cx="5190083" cy="4313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546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Box 45"/>
          <p:cNvSpPr txBox="1"/>
          <p:nvPr/>
        </p:nvSpPr>
        <p:spPr>
          <a:xfrm>
            <a:off x="3564507" y="1384900"/>
            <a:ext cx="6541205" cy="1107996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defTabSz="914400"/>
            <a:r>
              <a:rPr lang="en-US" sz="6600" b="1" dirty="0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#innovation</a:t>
            </a:r>
            <a:endParaRPr lang="ru-RU" sz="6600" b="1" dirty="0">
              <a:solidFill>
                <a:prstClr val="white">
                  <a:lumMod val="9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23857" y="4941168"/>
            <a:ext cx="6541205" cy="1862048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defTabSz="914400"/>
            <a:r>
              <a:rPr lang="en-US" sz="11500" b="1" dirty="0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#G4A</a:t>
            </a:r>
            <a:endParaRPr lang="ru-RU" sz="11500" b="1" dirty="0">
              <a:solidFill>
                <a:prstClr val="white">
                  <a:lumMod val="9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 rot="20330169">
            <a:off x="-345148" y="830901"/>
            <a:ext cx="6541205" cy="1107996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defTabSz="914400"/>
            <a:r>
              <a:rPr lang="en-US" sz="6600" b="1" dirty="0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#</a:t>
            </a:r>
            <a:r>
              <a:rPr lang="en-US" sz="6600" b="1" dirty="0" err="1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gitalhealth</a:t>
            </a:r>
            <a:endParaRPr lang="ru-RU" sz="6600" b="1" dirty="0">
              <a:solidFill>
                <a:prstClr val="white">
                  <a:lumMod val="9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816741" y="5373216"/>
            <a:ext cx="4362413" cy="1107996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defTabSz="914400"/>
            <a:r>
              <a:rPr lang="en-US" sz="6600" b="1" dirty="0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#startup</a:t>
            </a:r>
            <a:endParaRPr lang="ru-RU" sz="6600" b="1" dirty="0">
              <a:solidFill>
                <a:prstClr val="white">
                  <a:lumMod val="9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itle 3"/>
          <p:cNvSpPr txBox="1">
            <a:spLocks/>
          </p:cNvSpPr>
          <p:nvPr/>
        </p:nvSpPr>
        <p:spPr bwMode="gray">
          <a:xfrm>
            <a:off x="0" y="2880960"/>
            <a:ext cx="9145588" cy="121879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ctr" defTabSz="121986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ru-RU" sz="4400" b="1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Проекты </a:t>
            </a:r>
            <a:r>
              <a:rPr lang="en-US" sz="4400" b="1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Bayer</a:t>
            </a:r>
          </a:p>
          <a:p>
            <a:pPr lvl="0">
              <a:defRPr/>
            </a:pPr>
            <a:r>
              <a:rPr lang="ru-RU" sz="4400" b="1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в области </a:t>
            </a:r>
            <a:r>
              <a:rPr lang="en-US" sz="4400" b="1" dirty="0" smtClean="0">
                <a:solidFill>
                  <a:srgbClr val="66B512"/>
                </a:solidFill>
                <a:latin typeface="Arial"/>
              </a:rPr>
              <a:t>Life</a:t>
            </a:r>
            <a:r>
              <a:rPr lang="en-US" sz="4400" b="1" dirty="0" smtClean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 </a:t>
            </a:r>
            <a:r>
              <a:rPr lang="en-US" sz="4400" b="1" dirty="0" smtClean="0">
                <a:solidFill>
                  <a:schemeClr val="accent2"/>
                </a:solidFill>
                <a:latin typeface="Arial"/>
              </a:rPr>
              <a:t>Science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 rot="20330169">
            <a:off x="-268714" y="206386"/>
            <a:ext cx="4154774" cy="1107996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bg1">
                <a:lumMod val="85000"/>
                <a:alpha val="40000"/>
              </a:schemeClr>
            </a:outerShdw>
          </a:effectLst>
        </p:spPr>
        <p:txBody>
          <a:bodyPr wrap="square" rtlCol="0">
            <a:spAutoFit/>
          </a:bodyPr>
          <a:lstStyle/>
          <a:p>
            <a:pPr defTabSz="914400"/>
            <a:r>
              <a:rPr lang="en-US" sz="6600" b="1" dirty="0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#</a:t>
            </a:r>
            <a:r>
              <a:rPr lang="en-US" sz="6600" b="1" dirty="0" err="1" smtClean="0">
                <a:solidFill>
                  <a:prstClr val="white">
                    <a:lumMod val="9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Tech</a:t>
            </a:r>
            <a:endParaRPr lang="ru-RU" sz="6600" b="1" dirty="0">
              <a:solidFill>
                <a:prstClr val="white">
                  <a:lumMod val="9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421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559656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205818" y="3933670"/>
            <a:ext cx="8688207" cy="22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Grafik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205818" y="216558"/>
            <a:ext cx="3407846" cy="764170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2452257" y="1556792"/>
            <a:ext cx="6441768" cy="22428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8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s4Apps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or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о одна из глобальных программ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инициативы «открытых инноваций»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оддержке </a:t>
            </a:r>
            <a:r>
              <a:rPr lang="ru-RU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ртапов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цифровой сфере. Впервые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s4Apps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 запущен в 2013 году в Берлине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вляется 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й </a:t>
            </a: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циативой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yer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s://www.grants4apps.com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/</a:t>
            </a:r>
            <a:endParaRPr lang="ru-RU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el 1"/>
          <p:cNvSpPr txBox="1">
            <a:spLocks/>
          </p:cNvSpPr>
          <p:nvPr/>
        </p:nvSpPr>
        <p:spPr bwMode="gray">
          <a:xfrm>
            <a:off x="3814864" y="-89761"/>
            <a:ext cx="3881195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rgbClr val="676767"/>
                </a:solidFill>
                <a:latin typeface="Arial"/>
              </a:rPr>
              <a:t>	       		     </a:t>
            </a:r>
            <a:r>
              <a:rPr lang="ru-RU" sz="3600" dirty="0" smtClean="0">
                <a:solidFill>
                  <a:srgbClr val="676767"/>
                </a:solidFill>
                <a:latin typeface="Arial"/>
              </a:rPr>
              <a:t>   </a:t>
            </a:r>
            <a:r>
              <a:rPr lang="en-US" sz="3600" dirty="0" smtClean="0">
                <a:solidFill>
                  <a:srgbClr val="676767"/>
                </a:solidFill>
                <a:latin typeface="Arial"/>
              </a:rPr>
              <a:t>Global Accelerator </a:t>
            </a:r>
            <a:endParaRPr lang="de-DE" sz="36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4" name="Rechteck 7"/>
          <p:cNvSpPr/>
          <p:nvPr/>
        </p:nvSpPr>
        <p:spPr bwMode="auto">
          <a:xfrm>
            <a:off x="323584" y="4149080"/>
            <a:ext cx="1980344" cy="18002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2CA42"/>
            </a:solidFill>
            <a:prstDash val="solid"/>
          </a:ln>
          <a:effectLst/>
        </p:spPr>
        <p:txBody>
          <a:bodyPr vert="horz" wrap="square" lIns="0" tIns="0" rIns="0" bIns="215978" numCol="1" rtlCol="0" anchor="b" anchorCtr="0" compatLnSpc="1">
            <a:prstTxWarp prst="textNoShape">
              <a:avLst/>
            </a:prstTxWarp>
          </a:bodyPr>
          <a:lstStyle/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r>
              <a:rPr lang="ru-RU" kern="0" dirty="0" smtClean="0">
                <a:solidFill>
                  <a:srgbClr val="676767"/>
                </a:solidFill>
                <a:latin typeface="Arial"/>
              </a:rPr>
              <a:t>Сообщество</a:t>
            </a:r>
            <a:endParaRPr lang="ru-RU" kern="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5" name="Rechteck 8"/>
          <p:cNvSpPr/>
          <p:nvPr/>
        </p:nvSpPr>
        <p:spPr bwMode="auto">
          <a:xfrm>
            <a:off x="2452257" y="4149080"/>
            <a:ext cx="1980344" cy="18002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2CA42"/>
            </a:solidFill>
            <a:prstDash val="solid"/>
          </a:ln>
          <a:effectLst/>
        </p:spPr>
        <p:txBody>
          <a:bodyPr vert="horz" wrap="square" lIns="0" tIns="0" rIns="0" bIns="215978" numCol="1" rtlCol="0" anchor="b" anchorCtr="0" compatLnSpc="1">
            <a:prstTxWarp prst="textNoShape">
              <a:avLst/>
            </a:prstTxWarp>
          </a:bodyPr>
          <a:lstStyle/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r>
              <a:rPr lang="ru-RU" kern="0" dirty="0">
                <a:solidFill>
                  <a:srgbClr val="676767"/>
                </a:solidFill>
                <a:latin typeface="Arial"/>
              </a:rPr>
              <a:t>Грант </a:t>
            </a:r>
            <a:r>
              <a:rPr lang="de-DE" kern="0" dirty="0">
                <a:solidFill>
                  <a:srgbClr val="676767"/>
                </a:solidFill>
                <a:latin typeface="Arial"/>
              </a:rPr>
              <a:t>50K </a:t>
            </a:r>
            <a:r>
              <a:rPr lang="de-DE" kern="0" dirty="0" smtClean="0">
                <a:solidFill>
                  <a:srgbClr val="676767"/>
                </a:solidFill>
                <a:latin typeface="Arial"/>
              </a:rPr>
              <a:t>EUR</a:t>
            </a:r>
            <a:endParaRPr lang="ru-RU" kern="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6" name="Rechteck 9"/>
          <p:cNvSpPr/>
          <p:nvPr/>
        </p:nvSpPr>
        <p:spPr bwMode="auto">
          <a:xfrm>
            <a:off x="4580929" y="4149080"/>
            <a:ext cx="1980344" cy="180020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2CA42"/>
            </a:solidFill>
            <a:prstDash val="solid"/>
          </a:ln>
          <a:effectLst/>
        </p:spPr>
        <p:txBody>
          <a:bodyPr vert="horz" wrap="square" lIns="0" tIns="0" rIns="0" bIns="215978" numCol="1" rtlCol="0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ru-RU" kern="0" dirty="0" smtClean="0">
                <a:solidFill>
                  <a:srgbClr val="676767"/>
                </a:solidFill>
                <a:latin typeface="Arial"/>
              </a:rPr>
              <a:t>Офис</a:t>
            </a:r>
            <a:endParaRPr lang="ru-RU" kern="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7" name="Rechteck 10"/>
          <p:cNvSpPr/>
          <p:nvPr/>
        </p:nvSpPr>
        <p:spPr bwMode="auto">
          <a:xfrm>
            <a:off x="6709601" y="4149079"/>
            <a:ext cx="1980344" cy="18002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42CA42"/>
            </a:solidFill>
            <a:prstDash val="solid"/>
          </a:ln>
          <a:effectLst/>
        </p:spPr>
        <p:txBody>
          <a:bodyPr vert="horz" wrap="square" lIns="0" tIns="0" rIns="0" bIns="215978" numCol="1" rtlCol="0" anchor="b" anchorCtr="0" compatLnSpc="1">
            <a:prstTxWarp prst="textNoShape">
              <a:avLst/>
            </a:prstTxWarp>
          </a:bodyPr>
          <a:lstStyle/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endParaRPr lang="de-DE" kern="0" dirty="0">
              <a:solidFill>
                <a:srgbClr val="676767"/>
              </a:solidFill>
              <a:latin typeface="Arial"/>
            </a:endParaRPr>
          </a:p>
          <a:p>
            <a:pPr algn="ctr"/>
            <a:r>
              <a:rPr lang="ru-RU" kern="0" dirty="0" smtClean="0">
                <a:solidFill>
                  <a:srgbClr val="676767"/>
                </a:solidFill>
                <a:latin typeface="Arial"/>
              </a:rPr>
              <a:t>Менторы</a:t>
            </a:r>
            <a:endParaRPr lang="de-DE" kern="0" dirty="0">
              <a:solidFill>
                <a:srgbClr val="676767"/>
              </a:solidFill>
              <a:latin typeface="Arial"/>
            </a:endParaRPr>
          </a:p>
        </p:txBody>
      </p:sp>
      <p:pic>
        <p:nvPicPr>
          <p:cNvPr id="28" name="Picture 8" descr="C:\Users\gbgxl\Desktop\Icons\Icons\Mentoring Icon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72" y="4334990"/>
            <a:ext cx="1171778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" descr="C:\Users\gbgxl\Desktop\Icons\Icons\Bayer resources Icon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061" y="4468365"/>
            <a:ext cx="1143199" cy="98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C:\Users\gbgxl\Desktop\Icons\Icons\Berlin Office Icon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875" y="3973040"/>
            <a:ext cx="876452" cy="140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1" descr="C:\Users\gbgxl\Desktop\Icons\Icons\Financial support icons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7321" y="4482652"/>
            <a:ext cx="1162252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24" y="1844824"/>
            <a:ext cx="1878367" cy="1872000"/>
          </a:xfrm>
          <a:prstGeom prst="rect">
            <a:avLst/>
          </a:prstGeom>
          <a:noFill/>
          <a:ln w="1016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72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7637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Picture 4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507" y="2328494"/>
            <a:ext cx="1382391" cy="1382151"/>
          </a:xfrm>
          <a:prstGeom prst="rect">
            <a:avLst/>
          </a:prstGeom>
        </p:spPr>
      </p:pic>
      <p:sp>
        <p:nvSpPr>
          <p:cNvPr id="45" name="Freeform 44"/>
          <p:cNvSpPr/>
          <p:nvPr/>
        </p:nvSpPr>
        <p:spPr>
          <a:xfrm>
            <a:off x="-546103" y="-236133"/>
            <a:ext cx="10186466" cy="7570788"/>
          </a:xfrm>
          <a:custGeom>
            <a:avLst/>
            <a:gdLst>
              <a:gd name="connsiteX0" fmla="*/ 359923 w 8667344"/>
              <a:gd name="connsiteY0" fmla="*/ 3754876 h 5457217"/>
              <a:gd name="connsiteX1" fmla="*/ 2052536 w 8667344"/>
              <a:gd name="connsiteY1" fmla="*/ 3190672 h 5457217"/>
              <a:gd name="connsiteX2" fmla="*/ 3579778 w 8667344"/>
              <a:gd name="connsiteY2" fmla="*/ 2801566 h 5457217"/>
              <a:gd name="connsiteX3" fmla="*/ 4698459 w 8667344"/>
              <a:gd name="connsiteY3" fmla="*/ 2256817 h 5457217"/>
              <a:gd name="connsiteX4" fmla="*/ 5223753 w 8667344"/>
              <a:gd name="connsiteY4" fmla="*/ 1867710 h 5457217"/>
              <a:gd name="connsiteX5" fmla="*/ 5924144 w 8667344"/>
              <a:gd name="connsiteY5" fmla="*/ 1274323 h 5457217"/>
              <a:gd name="connsiteX6" fmla="*/ 6245157 w 8667344"/>
              <a:gd name="connsiteY6" fmla="*/ 924127 h 5457217"/>
              <a:gd name="connsiteX7" fmla="*/ 5000017 w 8667344"/>
              <a:gd name="connsiteY7" fmla="*/ 963038 h 5457217"/>
              <a:gd name="connsiteX8" fmla="*/ 7704306 w 8667344"/>
              <a:gd name="connsiteY8" fmla="*/ 0 h 5457217"/>
              <a:gd name="connsiteX9" fmla="*/ 8667344 w 8667344"/>
              <a:gd name="connsiteY9" fmla="*/ 1945531 h 5457217"/>
              <a:gd name="connsiteX10" fmla="*/ 7568119 w 8667344"/>
              <a:gd name="connsiteY10" fmla="*/ 1303506 h 5457217"/>
              <a:gd name="connsiteX11" fmla="*/ 7597302 w 8667344"/>
              <a:gd name="connsiteY11" fmla="*/ 2315183 h 5457217"/>
              <a:gd name="connsiteX12" fmla="*/ 7500025 w 8667344"/>
              <a:gd name="connsiteY12" fmla="*/ 2850204 h 5457217"/>
              <a:gd name="connsiteX13" fmla="*/ 7247106 w 8667344"/>
              <a:gd name="connsiteY13" fmla="*/ 3628417 h 5457217"/>
              <a:gd name="connsiteX14" fmla="*/ 7227651 w 8667344"/>
              <a:gd name="connsiteY14" fmla="*/ 3754876 h 5457217"/>
              <a:gd name="connsiteX15" fmla="*/ 6507804 w 8667344"/>
              <a:gd name="connsiteY15" fmla="*/ 4786008 h 5457217"/>
              <a:gd name="connsiteX16" fmla="*/ 6099242 w 8667344"/>
              <a:gd name="connsiteY16" fmla="*/ 5126476 h 5457217"/>
              <a:gd name="connsiteX17" fmla="*/ 5408578 w 8667344"/>
              <a:gd name="connsiteY17" fmla="*/ 5408578 h 5457217"/>
              <a:gd name="connsiteX18" fmla="*/ 0 w 8667344"/>
              <a:gd name="connsiteY18" fmla="*/ 5457217 h 5457217"/>
              <a:gd name="connsiteX19" fmla="*/ 359923 w 8667344"/>
              <a:gd name="connsiteY19" fmla="*/ 3754876 h 5457217"/>
              <a:gd name="connsiteX0" fmla="*/ 359923 w 8667344"/>
              <a:gd name="connsiteY0" fmla="*/ 3754876 h 5457217"/>
              <a:gd name="connsiteX1" fmla="*/ 2052536 w 8667344"/>
              <a:gd name="connsiteY1" fmla="*/ 3190672 h 5457217"/>
              <a:gd name="connsiteX2" fmla="*/ 3579778 w 8667344"/>
              <a:gd name="connsiteY2" fmla="*/ 2801566 h 5457217"/>
              <a:gd name="connsiteX3" fmla="*/ 4698459 w 8667344"/>
              <a:gd name="connsiteY3" fmla="*/ 2256817 h 5457217"/>
              <a:gd name="connsiteX4" fmla="*/ 5223753 w 8667344"/>
              <a:gd name="connsiteY4" fmla="*/ 1867710 h 5457217"/>
              <a:gd name="connsiteX5" fmla="*/ 5924144 w 8667344"/>
              <a:gd name="connsiteY5" fmla="*/ 1274323 h 5457217"/>
              <a:gd name="connsiteX6" fmla="*/ 6245157 w 8667344"/>
              <a:gd name="connsiteY6" fmla="*/ 924127 h 5457217"/>
              <a:gd name="connsiteX7" fmla="*/ 7704306 w 8667344"/>
              <a:gd name="connsiteY7" fmla="*/ 0 h 5457217"/>
              <a:gd name="connsiteX8" fmla="*/ 8667344 w 8667344"/>
              <a:gd name="connsiteY8" fmla="*/ 1945531 h 5457217"/>
              <a:gd name="connsiteX9" fmla="*/ 7568119 w 8667344"/>
              <a:gd name="connsiteY9" fmla="*/ 1303506 h 5457217"/>
              <a:gd name="connsiteX10" fmla="*/ 7597302 w 8667344"/>
              <a:gd name="connsiteY10" fmla="*/ 2315183 h 5457217"/>
              <a:gd name="connsiteX11" fmla="*/ 7500025 w 8667344"/>
              <a:gd name="connsiteY11" fmla="*/ 2850204 h 5457217"/>
              <a:gd name="connsiteX12" fmla="*/ 7247106 w 8667344"/>
              <a:gd name="connsiteY12" fmla="*/ 3628417 h 5457217"/>
              <a:gd name="connsiteX13" fmla="*/ 7227651 w 8667344"/>
              <a:gd name="connsiteY13" fmla="*/ 3754876 h 5457217"/>
              <a:gd name="connsiteX14" fmla="*/ 6507804 w 8667344"/>
              <a:gd name="connsiteY14" fmla="*/ 4786008 h 5457217"/>
              <a:gd name="connsiteX15" fmla="*/ 6099242 w 8667344"/>
              <a:gd name="connsiteY15" fmla="*/ 5126476 h 5457217"/>
              <a:gd name="connsiteX16" fmla="*/ 5408578 w 8667344"/>
              <a:gd name="connsiteY16" fmla="*/ 5408578 h 5457217"/>
              <a:gd name="connsiteX17" fmla="*/ 0 w 8667344"/>
              <a:gd name="connsiteY17" fmla="*/ 5457217 h 5457217"/>
              <a:gd name="connsiteX18" fmla="*/ 359923 w 8667344"/>
              <a:gd name="connsiteY18" fmla="*/ 3754876 h 5457217"/>
              <a:gd name="connsiteX0" fmla="*/ 359923 w 8667344"/>
              <a:gd name="connsiteY0" fmla="*/ 5340485 h 7042826"/>
              <a:gd name="connsiteX1" fmla="*/ 2052536 w 8667344"/>
              <a:gd name="connsiteY1" fmla="*/ 4776281 h 7042826"/>
              <a:gd name="connsiteX2" fmla="*/ 3579778 w 8667344"/>
              <a:gd name="connsiteY2" fmla="*/ 4387175 h 7042826"/>
              <a:gd name="connsiteX3" fmla="*/ 4698459 w 8667344"/>
              <a:gd name="connsiteY3" fmla="*/ 3842426 h 7042826"/>
              <a:gd name="connsiteX4" fmla="*/ 5223753 w 8667344"/>
              <a:gd name="connsiteY4" fmla="*/ 3453319 h 7042826"/>
              <a:gd name="connsiteX5" fmla="*/ 5924144 w 8667344"/>
              <a:gd name="connsiteY5" fmla="*/ 2859932 h 7042826"/>
              <a:gd name="connsiteX6" fmla="*/ 6245157 w 8667344"/>
              <a:gd name="connsiteY6" fmla="*/ 2509736 h 7042826"/>
              <a:gd name="connsiteX7" fmla="*/ 6974731 w 8667344"/>
              <a:gd name="connsiteY7" fmla="*/ 0 h 7042826"/>
              <a:gd name="connsiteX8" fmla="*/ 8667344 w 8667344"/>
              <a:gd name="connsiteY8" fmla="*/ 3531140 h 7042826"/>
              <a:gd name="connsiteX9" fmla="*/ 7568119 w 8667344"/>
              <a:gd name="connsiteY9" fmla="*/ 2889115 h 7042826"/>
              <a:gd name="connsiteX10" fmla="*/ 7597302 w 8667344"/>
              <a:gd name="connsiteY10" fmla="*/ 3900792 h 7042826"/>
              <a:gd name="connsiteX11" fmla="*/ 7500025 w 8667344"/>
              <a:gd name="connsiteY11" fmla="*/ 4435813 h 7042826"/>
              <a:gd name="connsiteX12" fmla="*/ 7247106 w 8667344"/>
              <a:gd name="connsiteY12" fmla="*/ 5214026 h 7042826"/>
              <a:gd name="connsiteX13" fmla="*/ 7227651 w 8667344"/>
              <a:gd name="connsiteY13" fmla="*/ 5340485 h 7042826"/>
              <a:gd name="connsiteX14" fmla="*/ 6507804 w 8667344"/>
              <a:gd name="connsiteY14" fmla="*/ 6371617 h 7042826"/>
              <a:gd name="connsiteX15" fmla="*/ 6099242 w 8667344"/>
              <a:gd name="connsiteY15" fmla="*/ 6712085 h 7042826"/>
              <a:gd name="connsiteX16" fmla="*/ 5408578 w 8667344"/>
              <a:gd name="connsiteY16" fmla="*/ 6994187 h 7042826"/>
              <a:gd name="connsiteX17" fmla="*/ 0 w 8667344"/>
              <a:gd name="connsiteY17" fmla="*/ 7042826 h 7042826"/>
              <a:gd name="connsiteX18" fmla="*/ 359923 w 8667344"/>
              <a:gd name="connsiteY18" fmla="*/ 5340485 h 7042826"/>
              <a:gd name="connsiteX0" fmla="*/ 359923 w 8667344"/>
              <a:gd name="connsiteY0" fmla="*/ 5340485 h 7042826"/>
              <a:gd name="connsiteX1" fmla="*/ 2052536 w 8667344"/>
              <a:gd name="connsiteY1" fmla="*/ 4776281 h 7042826"/>
              <a:gd name="connsiteX2" fmla="*/ 3579778 w 8667344"/>
              <a:gd name="connsiteY2" fmla="*/ 4387175 h 7042826"/>
              <a:gd name="connsiteX3" fmla="*/ 4698459 w 8667344"/>
              <a:gd name="connsiteY3" fmla="*/ 3842426 h 7042826"/>
              <a:gd name="connsiteX4" fmla="*/ 5223753 w 8667344"/>
              <a:gd name="connsiteY4" fmla="*/ 3453319 h 7042826"/>
              <a:gd name="connsiteX5" fmla="*/ 5924144 w 8667344"/>
              <a:gd name="connsiteY5" fmla="*/ 2859932 h 7042826"/>
              <a:gd name="connsiteX6" fmla="*/ 6245157 w 8667344"/>
              <a:gd name="connsiteY6" fmla="*/ 2509736 h 7042826"/>
              <a:gd name="connsiteX7" fmla="*/ 6974731 w 8667344"/>
              <a:gd name="connsiteY7" fmla="*/ 0 h 7042826"/>
              <a:gd name="connsiteX8" fmla="*/ 8667344 w 8667344"/>
              <a:gd name="connsiteY8" fmla="*/ 3531140 h 7042826"/>
              <a:gd name="connsiteX9" fmla="*/ 7830766 w 8667344"/>
              <a:gd name="connsiteY9" fmla="*/ 3326859 h 7042826"/>
              <a:gd name="connsiteX10" fmla="*/ 7597302 w 8667344"/>
              <a:gd name="connsiteY10" fmla="*/ 3900792 h 7042826"/>
              <a:gd name="connsiteX11" fmla="*/ 7500025 w 8667344"/>
              <a:gd name="connsiteY11" fmla="*/ 4435813 h 7042826"/>
              <a:gd name="connsiteX12" fmla="*/ 7247106 w 8667344"/>
              <a:gd name="connsiteY12" fmla="*/ 5214026 h 7042826"/>
              <a:gd name="connsiteX13" fmla="*/ 7227651 w 8667344"/>
              <a:gd name="connsiteY13" fmla="*/ 5340485 h 7042826"/>
              <a:gd name="connsiteX14" fmla="*/ 6507804 w 8667344"/>
              <a:gd name="connsiteY14" fmla="*/ 6371617 h 7042826"/>
              <a:gd name="connsiteX15" fmla="*/ 6099242 w 8667344"/>
              <a:gd name="connsiteY15" fmla="*/ 6712085 h 7042826"/>
              <a:gd name="connsiteX16" fmla="*/ 5408578 w 8667344"/>
              <a:gd name="connsiteY16" fmla="*/ 6994187 h 7042826"/>
              <a:gd name="connsiteX17" fmla="*/ 0 w 8667344"/>
              <a:gd name="connsiteY17" fmla="*/ 7042826 h 7042826"/>
              <a:gd name="connsiteX18" fmla="*/ 359923 w 8667344"/>
              <a:gd name="connsiteY18" fmla="*/ 5340485 h 7042826"/>
              <a:gd name="connsiteX0" fmla="*/ 359923 w 7830766"/>
              <a:gd name="connsiteY0" fmla="*/ 5340485 h 7042826"/>
              <a:gd name="connsiteX1" fmla="*/ 2052536 w 7830766"/>
              <a:gd name="connsiteY1" fmla="*/ 4776281 h 7042826"/>
              <a:gd name="connsiteX2" fmla="*/ 3579778 w 7830766"/>
              <a:gd name="connsiteY2" fmla="*/ 4387175 h 7042826"/>
              <a:gd name="connsiteX3" fmla="*/ 4698459 w 7830766"/>
              <a:gd name="connsiteY3" fmla="*/ 3842426 h 7042826"/>
              <a:gd name="connsiteX4" fmla="*/ 5223753 w 7830766"/>
              <a:gd name="connsiteY4" fmla="*/ 3453319 h 7042826"/>
              <a:gd name="connsiteX5" fmla="*/ 5924144 w 7830766"/>
              <a:gd name="connsiteY5" fmla="*/ 2859932 h 7042826"/>
              <a:gd name="connsiteX6" fmla="*/ 6245157 w 7830766"/>
              <a:gd name="connsiteY6" fmla="*/ 2509736 h 7042826"/>
              <a:gd name="connsiteX7" fmla="*/ 6974731 w 7830766"/>
              <a:gd name="connsiteY7" fmla="*/ 0 h 7042826"/>
              <a:gd name="connsiteX8" fmla="*/ 7461114 w 7830766"/>
              <a:gd name="connsiteY8" fmla="*/ 58366 h 7042826"/>
              <a:gd name="connsiteX9" fmla="*/ 7830766 w 7830766"/>
              <a:gd name="connsiteY9" fmla="*/ 3326859 h 7042826"/>
              <a:gd name="connsiteX10" fmla="*/ 7597302 w 7830766"/>
              <a:gd name="connsiteY10" fmla="*/ 3900792 h 7042826"/>
              <a:gd name="connsiteX11" fmla="*/ 7500025 w 7830766"/>
              <a:gd name="connsiteY11" fmla="*/ 4435813 h 7042826"/>
              <a:gd name="connsiteX12" fmla="*/ 7247106 w 7830766"/>
              <a:gd name="connsiteY12" fmla="*/ 5214026 h 7042826"/>
              <a:gd name="connsiteX13" fmla="*/ 7227651 w 7830766"/>
              <a:gd name="connsiteY13" fmla="*/ 5340485 h 7042826"/>
              <a:gd name="connsiteX14" fmla="*/ 6507804 w 7830766"/>
              <a:gd name="connsiteY14" fmla="*/ 6371617 h 7042826"/>
              <a:gd name="connsiteX15" fmla="*/ 6099242 w 7830766"/>
              <a:gd name="connsiteY15" fmla="*/ 6712085 h 7042826"/>
              <a:gd name="connsiteX16" fmla="*/ 5408578 w 7830766"/>
              <a:gd name="connsiteY16" fmla="*/ 6994187 h 7042826"/>
              <a:gd name="connsiteX17" fmla="*/ 0 w 7830766"/>
              <a:gd name="connsiteY17" fmla="*/ 7042826 h 7042826"/>
              <a:gd name="connsiteX18" fmla="*/ 359923 w 7830766"/>
              <a:gd name="connsiteY18" fmla="*/ 5340485 h 7042826"/>
              <a:gd name="connsiteX0" fmla="*/ 359923 w 7830766"/>
              <a:gd name="connsiteY0" fmla="*/ 5340485 h 7042826"/>
              <a:gd name="connsiteX1" fmla="*/ 2052536 w 7830766"/>
              <a:gd name="connsiteY1" fmla="*/ 4776281 h 7042826"/>
              <a:gd name="connsiteX2" fmla="*/ 3579778 w 7830766"/>
              <a:gd name="connsiteY2" fmla="*/ 4387175 h 7042826"/>
              <a:gd name="connsiteX3" fmla="*/ 4698459 w 7830766"/>
              <a:gd name="connsiteY3" fmla="*/ 3842426 h 7042826"/>
              <a:gd name="connsiteX4" fmla="*/ 5223753 w 7830766"/>
              <a:gd name="connsiteY4" fmla="*/ 3453319 h 7042826"/>
              <a:gd name="connsiteX5" fmla="*/ 5924144 w 7830766"/>
              <a:gd name="connsiteY5" fmla="*/ 2859932 h 7042826"/>
              <a:gd name="connsiteX6" fmla="*/ 6245157 w 7830766"/>
              <a:gd name="connsiteY6" fmla="*/ 2509736 h 7042826"/>
              <a:gd name="connsiteX7" fmla="*/ 6974731 w 7830766"/>
              <a:gd name="connsiteY7" fmla="*/ 0 h 7042826"/>
              <a:gd name="connsiteX8" fmla="*/ 7461114 w 7830766"/>
              <a:gd name="connsiteY8" fmla="*/ 58366 h 7042826"/>
              <a:gd name="connsiteX9" fmla="*/ 7830766 w 7830766"/>
              <a:gd name="connsiteY9" fmla="*/ 3326859 h 7042826"/>
              <a:gd name="connsiteX10" fmla="*/ 7752945 w 7830766"/>
              <a:gd name="connsiteY10" fmla="*/ 4007796 h 7042826"/>
              <a:gd name="connsiteX11" fmla="*/ 7500025 w 7830766"/>
              <a:gd name="connsiteY11" fmla="*/ 4435813 h 7042826"/>
              <a:gd name="connsiteX12" fmla="*/ 7247106 w 7830766"/>
              <a:gd name="connsiteY12" fmla="*/ 5214026 h 7042826"/>
              <a:gd name="connsiteX13" fmla="*/ 7227651 w 7830766"/>
              <a:gd name="connsiteY13" fmla="*/ 5340485 h 7042826"/>
              <a:gd name="connsiteX14" fmla="*/ 6507804 w 7830766"/>
              <a:gd name="connsiteY14" fmla="*/ 6371617 h 7042826"/>
              <a:gd name="connsiteX15" fmla="*/ 6099242 w 7830766"/>
              <a:gd name="connsiteY15" fmla="*/ 6712085 h 7042826"/>
              <a:gd name="connsiteX16" fmla="*/ 5408578 w 7830766"/>
              <a:gd name="connsiteY16" fmla="*/ 6994187 h 7042826"/>
              <a:gd name="connsiteX17" fmla="*/ 0 w 7830766"/>
              <a:gd name="connsiteY17" fmla="*/ 7042826 h 7042826"/>
              <a:gd name="connsiteX18" fmla="*/ 359923 w 7830766"/>
              <a:gd name="connsiteY18" fmla="*/ 5340485 h 7042826"/>
              <a:gd name="connsiteX0" fmla="*/ 0 w 8511702"/>
              <a:gd name="connsiteY0" fmla="*/ 5710136 h 7042826"/>
              <a:gd name="connsiteX1" fmla="*/ 2733472 w 8511702"/>
              <a:gd name="connsiteY1" fmla="*/ 4776281 h 7042826"/>
              <a:gd name="connsiteX2" fmla="*/ 4260714 w 8511702"/>
              <a:gd name="connsiteY2" fmla="*/ 4387175 h 7042826"/>
              <a:gd name="connsiteX3" fmla="*/ 5379395 w 8511702"/>
              <a:gd name="connsiteY3" fmla="*/ 3842426 h 7042826"/>
              <a:gd name="connsiteX4" fmla="*/ 5904689 w 8511702"/>
              <a:gd name="connsiteY4" fmla="*/ 3453319 h 7042826"/>
              <a:gd name="connsiteX5" fmla="*/ 6605080 w 8511702"/>
              <a:gd name="connsiteY5" fmla="*/ 2859932 h 7042826"/>
              <a:gd name="connsiteX6" fmla="*/ 6926093 w 8511702"/>
              <a:gd name="connsiteY6" fmla="*/ 2509736 h 7042826"/>
              <a:gd name="connsiteX7" fmla="*/ 7655667 w 8511702"/>
              <a:gd name="connsiteY7" fmla="*/ 0 h 7042826"/>
              <a:gd name="connsiteX8" fmla="*/ 8142050 w 8511702"/>
              <a:gd name="connsiteY8" fmla="*/ 58366 h 7042826"/>
              <a:gd name="connsiteX9" fmla="*/ 8511702 w 8511702"/>
              <a:gd name="connsiteY9" fmla="*/ 3326859 h 7042826"/>
              <a:gd name="connsiteX10" fmla="*/ 8433881 w 8511702"/>
              <a:gd name="connsiteY10" fmla="*/ 4007796 h 7042826"/>
              <a:gd name="connsiteX11" fmla="*/ 8180961 w 8511702"/>
              <a:gd name="connsiteY11" fmla="*/ 4435813 h 7042826"/>
              <a:gd name="connsiteX12" fmla="*/ 7928042 w 8511702"/>
              <a:gd name="connsiteY12" fmla="*/ 5214026 h 7042826"/>
              <a:gd name="connsiteX13" fmla="*/ 7908587 w 8511702"/>
              <a:gd name="connsiteY13" fmla="*/ 5340485 h 7042826"/>
              <a:gd name="connsiteX14" fmla="*/ 7188740 w 8511702"/>
              <a:gd name="connsiteY14" fmla="*/ 6371617 h 7042826"/>
              <a:gd name="connsiteX15" fmla="*/ 6780178 w 8511702"/>
              <a:gd name="connsiteY15" fmla="*/ 6712085 h 7042826"/>
              <a:gd name="connsiteX16" fmla="*/ 6089514 w 8511702"/>
              <a:gd name="connsiteY16" fmla="*/ 6994187 h 7042826"/>
              <a:gd name="connsiteX17" fmla="*/ 680936 w 8511702"/>
              <a:gd name="connsiteY17" fmla="*/ 7042826 h 7042826"/>
              <a:gd name="connsiteX18" fmla="*/ 0 w 8511702"/>
              <a:gd name="connsiteY18" fmla="*/ 5710136 h 7042826"/>
              <a:gd name="connsiteX0" fmla="*/ 0 w 8511702"/>
              <a:gd name="connsiteY0" fmla="*/ 5710136 h 7042826"/>
              <a:gd name="connsiteX1" fmla="*/ 2519464 w 8511702"/>
              <a:gd name="connsiteY1" fmla="*/ 5194570 h 7042826"/>
              <a:gd name="connsiteX2" fmla="*/ 4260714 w 8511702"/>
              <a:gd name="connsiteY2" fmla="*/ 4387175 h 7042826"/>
              <a:gd name="connsiteX3" fmla="*/ 5379395 w 8511702"/>
              <a:gd name="connsiteY3" fmla="*/ 3842426 h 7042826"/>
              <a:gd name="connsiteX4" fmla="*/ 5904689 w 8511702"/>
              <a:gd name="connsiteY4" fmla="*/ 3453319 h 7042826"/>
              <a:gd name="connsiteX5" fmla="*/ 6605080 w 8511702"/>
              <a:gd name="connsiteY5" fmla="*/ 2859932 h 7042826"/>
              <a:gd name="connsiteX6" fmla="*/ 6926093 w 8511702"/>
              <a:gd name="connsiteY6" fmla="*/ 2509736 h 7042826"/>
              <a:gd name="connsiteX7" fmla="*/ 7655667 w 8511702"/>
              <a:gd name="connsiteY7" fmla="*/ 0 h 7042826"/>
              <a:gd name="connsiteX8" fmla="*/ 8142050 w 8511702"/>
              <a:gd name="connsiteY8" fmla="*/ 58366 h 7042826"/>
              <a:gd name="connsiteX9" fmla="*/ 8511702 w 8511702"/>
              <a:gd name="connsiteY9" fmla="*/ 3326859 h 7042826"/>
              <a:gd name="connsiteX10" fmla="*/ 8433881 w 8511702"/>
              <a:gd name="connsiteY10" fmla="*/ 4007796 h 7042826"/>
              <a:gd name="connsiteX11" fmla="*/ 8180961 w 8511702"/>
              <a:gd name="connsiteY11" fmla="*/ 4435813 h 7042826"/>
              <a:gd name="connsiteX12" fmla="*/ 7928042 w 8511702"/>
              <a:gd name="connsiteY12" fmla="*/ 5214026 h 7042826"/>
              <a:gd name="connsiteX13" fmla="*/ 7908587 w 8511702"/>
              <a:gd name="connsiteY13" fmla="*/ 5340485 h 7042826"/>
              <a:gd name="connsiteX14" fmla="*/ 7188740 w 8511702"/>
              <a:gd name="connsiteY14" fmla="*/ 6371617 h 7042826"/>
              <a:gd name="connsiteX15" fmla="*/ 6780178 w 8511702"/>
              <a:gd name="connsiteY15" fmla="*/ 6712085 h 7042826"/>
              <a:gd name="connsiteX16" fmla="*/ 6089514 w 8511702"/>
              <a:gd name="connsiteY16" fmla="*/ 6994187 h 7042826"/>
              <a:gd name="connsiteX17" fmla="*/ 680936 w 8511702"/>
              <a:gd name="connsiteY17" fmla="*/ 7042826 h 7042826"/>
              <a:gd name="connsiteX18" fmla="*/ 0 w 8511702"/>
              <a:gd name="connsiteY18" fmla="*/ 5710136 h 7042826"/>
              <a:gd name="connsiteX0" fmla="*/ 0 w 8511702"/>
              <a:gd name="connsiteY0" fmla="*/ 5710136 h 7042826"/>
              <a:gd name="connsiteX1" fmla="*/ 890530 w 8511702"/>
              <a:gd name="connsiteY1" fmla="*/ 5535038 h 7042826"/>
              <a:gd name="connsiteX2" fmla="*/ 2519464 w 8511702"/>
              <a:gd name="connsiteY2" fmla="*/ 5194570 h 7042826"/>
              <a:gd name="connsiteX3" fmla="*/ 4260714 w 8511702"/>
              <a:gd name="connsiteY3" fmla="*/ 4387175 h 7042826"/>
              <a:gd name="connsiteX4" fmla="*/ 5379395 w 8511702"/>
              <a:gd name="connsiteY4" fmla="*/ 3842426 h 7042826"/>
              <a:gd name="connsiteX5" fmla="*/ 5904689 w 8511702"/>
              <a:gd name="connsiteY5" fmla="*/ 3453319 h 7042826"/>
              <a:gd name="connsiteX6" fmla="*/ 6605080 w 8511702"/>
              <a:gd name="connsiteY6" fmla="*/ 2859932 h 7042826"/>
              <a:gd name="connsiteX7" fmla="*/ 6926093 w 8511702"/>
              <a:gd name="connsiteY7" fmla="*/ 2509736 h 7042826"/>
              <a:gd name="connsiteX8" fmla="*/ 7655667 w 8511702"/>
              <a:gd name="connsiteY8" fmla="*/ 0 h 7042826"/>
              <a:gd name="connsiteX9" fmla="*/ 8142050 w 8511702"/>
              <a:gd name="connsiteY9" fmla="*/ 58366 h 7042826"/>
              <a:gd name="connsiteX10" fmla="*/ 8511702 w 8511702"/>
              <a:gd name="connsiteY10" fmla="*/ 3326859 h 7042826"/>
              <a:gd name="connsiteX11" fmla="*/ 8433881 w 8511702"/>
              <a:gd name="connsiteY11" fmla="*/ 4007796 h 7042826"/>
              <a:gd name="connsiteX12" fmla="*/ 8180961 w 8511702"/>
              <a:gd name="connsiteY12" fmla="*/ 4435813 h 7042826"/>
              <a:gd name="connsiteX13" fmla="*/ 7928042 w 8511702"/>
              <a:gd name="connsiteY13" fmla="*/ 5214026 h 7042826"/>
              <a:gd name="connsiteX14" fmla="*/ 7908587 w 8511702"/>
              <a:gd name="connsiteY14" fmla="*/ 5340485 h 7042826"/>
              <a:gd name="connsiteX15" fmla="*/ 7188740 w 8511702"/>
              <a:gd name="connsiteY15" fmla="*/ 6371617 h 7042826"/>
              <a:gd name="connsiteX16" fmla="*/ 6780178 w 8511702"/>
              <a:gd name="connsiteY16" fmla="*/ 6712085 h 7042826"/>
              <a:gd name="connsiteX17" fmla="*/ 6089514 w 8511702"/>
              <a:gd name="connsiteY17" fmla="*/ 6994187 h 7042826"/>
              <a:gd name="connsiteX18" fmla="*/ 680936 w 8511702"/>
              <a:gd name="connsiteY18" fmla="*/ 7042826 h 7042826"/>
              <a:gd name="connsiteX19" fmla="*/ 0 w 8511702"/>
              <a:gd name="connsiteY19" fmla="*/ 5710136 h 7042826"/>
              <a:gd name="connsiteX0" fmla="*/ 0 w 8511702"/>
              <a:gd name="connsiteY0" fmla="*/ 5710136 h 7042826"/>
              <a:gd name="connsiteX1" fmla="*/ 919713 w 8511702"/>
              <a:gd name="connsiteY1" fmla="*/ 5836595 h 7042826"/>
              <a:gd name="connsiteX2" fmla="*/ 2519464 w 8511702"/>
              <a:gd name="connsiteY2" fmla="*/ 5194570 h 7042826"/>
              <a:gd name="connsiteX3" fmla="*/ 4260714 w 8511702"/>
              <a:gd name="connsiteY3" fmla="*/ 4387175 h 7042826"/>
              <a:gd name="connsiteX4" fmla="*/ 5379395 w 8511702"/>
              <a:gd name="connsiteY4" fmla="*/ 3842426 h 7042826"/>
              <a:gd name="connsiteX5" fmla="*/ 5904689 w 8511702"/>
              <a:gd name="connsiteY5" fmla="*/ 3453319 h 7042826"/>
              <a:gd name="connsiteX6" fmla="*/ 6605080 w 8511702"/>
              <a:gd name="connsiteY6" fmla="*/ 2859932 h 7042826"/>
              <a:gd name="connsiteX7" fmla="*/ 6926093 w 8511702"/>
              <a:gd name="connsiteY7" fmla="*/ 2509736 h 7042826"/>
              <a:gd name="connsiteX8" fmla="*/ 7655667 w 8511702"/>
              <a:gd name="connsiteY8" fmla="*/ 0 h 7042826"/>
              <a:gd name="connsiteX9" fmla="*/ 8142050 w 8511702"/>
              <a:gd name="connsiteY9" fmla="*/ 58366 h 7042826"/>
              <a:gd name="connsiteX10" fmla="*/ 8511702 w 8511702"/>
              <a:gd name="connsiteY10" fmla="*/ 3326859 h 7042826"/>
              <a:gd name="connsiteX11" fmla="*/ 8433881 w 8511702"/>
              <a:gd name="connsiteY11" fmla="*/ 4007796 h 7042826"/>
              <a:gd name="connsiteX12" fmla="*/ 8180961 w 8511702"/>
              <a:gd name="connsiteY12" fmla="*/ 4435813 h 7042826"/>
              <a:gd name="connsiteX13" fmla="*/ 7928042 w 8511702"/>
              <a:gd name="connsiteY13" fmla="*/ 5214026 h 7042826"/>
              <a:gd name="connsiteX14" fmla="*/ 7908587 w 8511702"/>
              <a:gd name="connsiteY14" fmla="*/ 5340485 h 7042826"/>
              <a:gd name="connsiteX15" fmla="*/ 7188740 w 8511702"/>
              <a:gd name="connsiteY15" fmla="*/ 6371617 h 7042826"/>
              <a:gd name="connsiteX16" fmla="*/ 6780178 w 8511702"/>
              <a:gd name="connsiteY16" fmla="*/ 6712085 h 7042826"/>
              <a:gd name="connsiteX17" fmla="*/ 6089514 w 8511702"/>
              <a:gd name="connsiteY17" fmla="*/ 6994187 h 7042826"/>
              <a:gd name="connsiteX18" fmla="*/ 680936 w 8511702"/>
              <a:gd name="connsiteY18" fmla="*/ 7042826 h 7042826"/>
              <a:gd name="connsiteX19" fmla="*/ 0 w 8511702"/>
              <a:gd name="connsiteY19" fmla="*/ 5710136 h 7042826"/>
              <a:gd name="connsiteX0" fmla="*/ 0 w 8511702"/>
              <a:gd name="connsiteY0" fmla="*/ 5710136 h 7042826"/>
              <a:gd name="connsiteX1" fmla="*/ 919713 w 8511702"/>
              <a:gd name="connsiteY1" fmla="*/ 5836595 h 7042826"/>
              <a:gd name="connsiteX2" fmla="*/ 2519464 w 8511702"/>
              <a:gd name="connsiteY2" fmla="*/ 5194570 h 7042826"/>
              <a:gd name="connsiteX3" fmla="*/ 4260714 w 8511702"/>
              <a:gd name="connsiteY3" fmla="*/ 4494179 h 7042826"/>
              <a:gd name="connsiteX4" fmla="*/ 5379395 w 8511702"/>
              <a:gd name="connsiteY4" fmla="*/ 3842426 h 7042826"/>
              <a:gd name="connsiteX5" fmla="*/ 5904689 w 8511702"/>
              <a:gd name="connsiteY5" fmla="*/ 3453319 h 7042826"/>
              <a:gd name="connsiteX6" fmla="*/ 6605080 w 8511702"/>
              <a:gd name="connsiteY6" fmla="*/ 2859932 h 7042826"/>
              <a:gd name="connsiteX7" fmla="*/ 6926093 w 8511702"/>
              <a:gd name="connsiteY7" fmla="*/ 2509736 h 7042826"/>
              <a:gd name="connsiteX8" fmla="*/ 7655667 w 8511702"/>
              <a:gd name="connsiteY8" fmla="*/ 0 h 7042826"/>
              <a:gd name="connsiteX9" fmla="*/ 8142050 w 8511702"/>
              <a:gd name="connsiteY9" fmla="*/ 58366 h 7042826"/>
              <a:gd name="connsiteX10" fmla="*/ 8511702 w 8511702"/>
              <a:gd name="connsiteY10" fmla="*/ 3326859 h 7042826"/>
              <a:gd name="connsiteX11" fmla="*/ 8433881 w 8511702"/>
              <a:gd name="connsiteY11" fmla="*/ 4007796 h 7042826"/>
              <a:gd name="connsiteX12" fmla="*/ 8180961 w 8511702"/>
              <a:gd name="connsiteY12" fmla="*/ 4435813 h 7042826"/>
              <a:gd name="connsiteX13" fmla="*/ 7928042 w 8511702"/>
              <a:gd name="connsiteY13" fmla="*/ 5214026 h 7042826"/>
              <a:gd name="connsiteX14" fmla="*/ 7908587 w 8511702"/>
              <a:gd name="connsiteY14" fmla="*/ 5340485 h 7042826"/>
              <a:gd name="connsiteX15" fmla="*/ 7188740 w 8511702"/>
              <a:gd name="connsiteY15" fmla="*/ 6371617 h 7042826"/>
              <a:gd name="connsiteX16" fmla="*/ 6780178 w 8511702"/>
              <a:gd name="connsiteY16" fmla="*/ 6712085 h 7042826"/>
              <a:gd name="connsiteX17" fmla="*/ 6089514 w 8511702"/>
              <a:gd name="connsiteY17" fmla="*/ 6994187 h 7042826"/>
              <a:gd name="connsiteX18" fmla="*/ 680936 w 8511702"/>
              <a:gd name="connsiteY18" fmla="*/ 7042826 h 7042826"/>
              <a:gd name="connsiteX19" fmla="*/ 0 w 8511702"/>
              <a:gd name="connsiteY19" fmla="*/ 5710136 h 7042826"/>
              <a:gd name="connsiteX0" fmla="*/ 0 w 8511702"/>
              <a:gd name="connsiteY0" fmla="*/ 5710136 h 7042826"/>
              <a:gd name="connsiteX1" fmla="*/ 919713 w 8511702"/>
              <a:gd name="connsiteY1" fmla="*/ 5836595 h 7042826"/>
              <a:gd name="connsiteX2" fmla="*/ 2519464 w 8511702"/>
              <a:gd name="connsiteY2" fmla="*/ 5194570 h 7042826"/>
              <a:gd name="connsiteX3" fmla="*/ 4260714 w 8511702"/>
              <a:gd name="connsiteY3" fmla="*/ 4494179 h 7042826"/>
              <a:gd name="connsiteX4" fmla="*/ 5904689 w 8511702"/>
              <a:gd name="connsiteY4" fmla="*/ 3453319 h 7042826"/>
              <a:gd name="connsiteX5" fmla="*/ 6605080 w 8511702"/>
              <a:gd name="connsiteY5" fmla="*/ 2859932 h 7042826"/>
              <a:gd name="connsiteX6" fmla="*/ 6926093 w 8511702"/>
              <a:gd name="connsiteY6" fmla="*/ 2509736 h 7042826"/>
              <a:gd name="connsiteX7" fmla="*/ 7655667 w 8511702"/>
              <a:gd name="connsiteY7" fmla="*/ 0 h 7042826"/>
              <a:gd name="connsiteX8" fmla="*/ 8142050 w 8511702"/>
              <a:gd name="connsiteY8" fmla="*/ 58366 h 7042826"/>
              <a:gd name="connsiteX9" fmla="*/ 8511702 w 8511702"/>
              <a:gd name="connsiteY9" fmla="*/ 3326859 h 7042826"/>
              <a:gd name="connsiteX10" fmla="*/ 8433881 w 8511702"/>
              <a:gd name="connsiteY10" fmla="*/ 4007796 h 7042826"/>
              <a:gd name="connsiteX11" fmla="*/ 8180961 w 8511702"/>
              <a:gd name="connsiteY11" fmla="*/ 4435813 h 7042826"/>
              <a:gd name="connsiteX12" fmla="*/ 7928042 w 8511702"/>
              <a:gd name="connsiteY12" fmla="*/ 5214026 h 7042826"/>
              <a:gd name="connsiteX13" fmla="*/ 7908587 w 8511702"/>
              <a:gd name="connsiteY13" fmla="*/ 5340485 h 7042826"/>
              <a:gd name="connsiteX14" fmla="*/ 7188740 w 8511702"/>
              <a:gd name="connsiteY14" fmla="*/ 6371617 h 7042826"/>
              <a:gd name="connsiteX15" fmla="*/ 6780178 w 8511702"/>
              <a:gd name="connsiteY15" fmla="*/ 6712085 h 7042826"/>
              <a:gd name="connsiteX16" fmla="*/ 6089514 w 8511702"/>
              <a:gd name="connsiteY16" fmla="*/ 6994187 h 7042826"/>
              <a:gd name="connsiteX17" fmla="*/ 680936 w 8511702"/>
              <a:gd name="connsiteY17" fmla="*/ 7042826 h 7042826"/>
              <a:gd name="connsiteX18" fmla="*/ 0 w 8511702"/>
              <a:gd name="connsiteY18" fmla="*/ 5710136 h 7042826"/>
              <a:gd name="connsiteX0" fmla="*/ 0 w 8511702"/>
              <a:gd name="connsiteY0" fmla="*/ 5710136 h 7042826"/>
              <a:gd name="connsiteX1" fmla="*/ 919713 w 8511702"/>
              <a:gd name="connsiteY1" fmla="*/ 5836595 h 7042826"/>
              <a:gd name="connsiteX2" fmla="*/ 2519464 w 8511702"/>
              <a:gd name="connsiteY2" fmla="*/ 5194570 h 7042826"/>
              <a:gd name="connsiteX3" fmla="*/ 4260714 w 8511702"/>
              <a:gd name="connsiteY3" fmla="*/ 4494179 h 7042826"/>
              <a:gd name="connsiteX4" fmla="*/ 5749047 w 8511702"/>
              <a:gd name="connsiteY4" fmla="*/ 3453319 h 7042826"/>
              <a:gd name="connsiteX5" fmla="*/ 6605080 w 8511702"/>
              <a:gd name="connsiteY5" fmla="*/ 2859932 h 7042826"/>
              <a:gd name="connsiteX6" fmla="*/ 6926093 w 8511702"/>
              <a:gd name="connsiteY6" fmla="*/ 2509736 h 7042826"/>
              <a:gd name="connsiteX7" fmla="*/ 7655667 w 8511702"/>
              <a:gd name="connsiteY7" fmla="*/ 0 h 7042826"/>
              <a:gd name="connsiteX8" fmla="*/ 8142050 w 8511702"/>
              <a:gd name="connsiteY8" fmla="*/ 58366 h 7042826"/>
              <a:gd name="connsiteX9" fmla="*/ 8511702 w 8511702"/>
              <a:gd name="connsiteY9" fmla="*/ 3326859 h 7042826"/>
              <a:gd name="connsiteX10" fmla="*/ 8433881 w 8511702"/>
              <a:gd name="connsiteY10" fmla="*/ 4007796 h 7042826"/>
              <a:gd name="connsiteX11" fmla="*/ 8180961 w 8511702"/>
              <a:gd name="connsiteY11" fmla="*/ 4435813 h 7042826"/>
              <a:gd name="connsiteX12" fmla="*/ 7928042 w 8511702"/>
              <a:gd name="connsiteY12" fmla="*/ 5214026 h 7042826"/>
              <a:gd name="connsiteX13" fmla="*/ 7908587 w 8511702"/>
              <a:gd name="connsiteY13" fmla="*/ 5340485 h 7042826"/>
              <a:gd name="connsiteX14" fmla="*/ 7188740 w 8511702"/>
              <a:gd name="connsiteY14" fmla="*/ 6371617 h 7042826"/>
              <a:gd name="connsiteX15" fmla="*/ 6780178 w 8511702"/>
              <a:gd name="connsiteY15" fmla="*/ 6712085 h 7042826"/>
              <a:gd name="connsiteX16" fmla="*/ 6089514 w 8511702"/>
              <a:gd name="connsiteY16" fmla="*/ 6994187 h 7042826"/>
              <a:gd name="connsiteX17" fmla="*/ 680936 w 8511702"/>
              <a:gd name="connsiteY17" fmla="*/ 7042826 h 7042826"/>
              <a:gd name="connsiteX18" fmla="*/ 0 w 8511702"/>
              <a:gd name="connsiteY18" fmla="*/ 5710136 h 7042826"/>
              <a:gd name="connsiteX0" fmla="*/ 0 w 8511702"/>
              <a:gd name="connsiteY0" fmla="*/ 5710136 h 7042826"/>
              <a:gd name="connsiteX1" fmla="*/ 919713 w 8511702"/>
              <a:gd name="connsiteY1" fmla="*/ 5836595 h 7042826"/>
              <a:gd name="connsiteX2" fmla="*/ 2519464 w 8511702"/>
              <a:gd name="connsiteY2" fmla="*/ 5194570 h 7042826"/>
              <a:gd name="connsiteX3" fmla="*/ 4260714 w 8511702"/>
              <a:gd name="connsiteY3" fmla="*/ 4494179 h 7042826"/>
              <a:gd name="connsiteX4" fmla="*/ 5749047 w 8511702"/>
              <a:gd name="connsiteY4" fmla="*/ 3453319 h 7042826"/>
              <a:gd name="connsiteX5" fmla="*/ 6605080 w 8511702"/>
              <a:gd name="connsiteY5" fmla="*/ 2859932 h 7042826"/>
              <a:gd name="connsiteX6" fmla="*/ 7023370 w 8511702"/>
              <a:gd name="connsiteY6" fmla="*/ 2217906 h 7042826"/>
              <a:gd name="connsiteX7" fmla="*/ 7655667 w 8511702"/>
              <a:gd name="connsiteY7" fmla="*/ 0 h 7042826"/>
              <a:gd name="connsiteX8" fmla="*/ 8142050 w 8511702"/>
              <a:gd name="connsiteY8" fmla="*/ 58366 h 7042826"/>
              <a:gd name="connsiteX9" fmla="*/ 8511702 w 8511702"/>
              <a:gd name="connsiteY9" fmla="*/ 3326859 h 7042826"/>
              <a:gd name="connsiteX10" fmla="*/ 8433881 w 8511702"/>
              <a:gd name="connsiteY10" fmla="*/ 4007796 h 7042826"/>
              <a:gd name="connsiteX11" fmla="*/ 8180961 w 8511702"/>
              <a:gd name="connsiteY11" fmla="*/ 4435813 h 7042826"/>
              <a:gd name="connsiteX12" fmla="*/ 7928042 w 8511702"/>
              <a:gd name="connsiteY12" fmla="*/ 5214026 h 7042826"/>
              <a:gd name="connsiteX13" fmla="*/ 7908587 w 8511702"/>
              <a:gd name="connsiteY13" fmla="*/ 5340485 h 7042826"/>
              <a:gd name="connsiteX14" fmla="*/ 7188740 w 8511702"/>
              <a:gd name="connsiteY14" fmla="*/ 6371617 h 7042826"/>
              <a:gd name="connsiteX15" fmla="*/ 6780178 w 8511702"/>
              <a:gd name="connsiteY15" fmla="*/ 6712085 h 7042826"/>
              <a:gd name="connsiteX16" fmla="*/ 6089514 w 8511702"/>
              <a:gd name="connsiteY16" fmla="*/ 6994187 h 7042826"/>
              <a:gd name="connsiteX17" fmla="*/ 680936 w 8511702"/>
              <a:gd name="connsiteY17" fmla="*/ 7042826 h 7042826"/>
              <a:gd name="connsiteX18" fmla="*/ 0 w 8511702"/>
              <a:gd name="connsiteY18" fmla="*/ 5710136 h 7042826"/>
              <a:gd name="connsiteX0" fmla="*/ 0 w 8511702"/>
              <a:gd name="connsiteY0" fmla="*/ 5797685 h 7130375"/>
              <a:gd name="connsiteX1" fmla="*/ 919713 w 8511702"/>
              <a:gd name="connsiteY1" fmla="*/ 5924144 h 7130375"/>
              <a:gd name="connsiteX2" fmla="*/ 2519464 w 8511702"/>
              <a:gd name="connsiteY2" fmla="*/ 5282119 h 7130375"/>
              <a:gd name="connsiteX3" fmla="*/ 4260714 w 8511702"/>
              <a:gd name="connsiteY3" fmla="*/ 4581728 h 7130375"/>
              <a:gd name="connsiteX4" fmla="*/ 5749047 w 8511702"/>
              <a:gd name="connsiteY4" fmla="*/ 3540868 h 7130375"/>
              <a:gd name="connsiteX5" fmla="*/ 6605080 w 8511702"/>
              <a:gd name="connsiteY5" fmla="*/ 2947481 h 7130375"/>
              <a:gd name="connsiteX6" fmla="*/ 7023370 w 8511702"/>
              <a:gd name="connsiteY6" fmla="*/ 2305455 h 7130375"/>
              <a:gd name="connsiteX7" fmla="*/ 7655667 w 8511702"/>
              <a:gd name="connsiteY7" fmla="*/ 87549 h 7130375"/>
              <a:gd name="connsiteX8" fmla="*/ 8151778 w 8511702"/>
              <a:gd name="connsiteY8" fmla="*/ 0 h 7130375"/>
              <a:gd name="connsiteX9" fmla="*/ 8511702 w 8511702"/>
              <a:gd name="connsiteY9" fmla="*/ 3414408 h 7130375"/>
              <a:gd name="connsiteX10" fmla="*/ 8433881 w 8511702"/>
              <a:gd name="connsiteY10" fmla="*/ 4095345 h 7130375"/>
              <a:gd name="connsiteX11" fmla="*/ 8180961 w 8511702"/>
              <a:gd name="connsiteY11" fmla="*/ 4523362 h 7130375"/>
              <a:gd name="connsiteX12" fmla="*/ 7928042 w 8511702"/>
              <a:gd name="connsiteY12" fmla="*/ 5301575 h 7130375"/>
              <a:gd name="connsiteX13" fmla="*/ 7908587 w 8511702"/>
              <a:gd name="connsiteY13" fmla="*/ 5428034 h 7130375"/>
              <a:gd name="connsiteX14" fmla="*/ 7188740 w 8511702"/>
              <a:gd name="connsiteY14" fmla="*/ 6459166 h 7130375"/>
              <a:gd name="connsiteX15" fmla="*/ 6780178 w 8511702"/>
              <a:gd name="connsiteY15" fmla="*/ 6799634 h 7130375"/>
              <a:gd name="connsiteX16" fmla="*/ 6089514 w 8511702"/>
              <a:gd name="connsiteY16" fmla="*/ 7081736 h 7130375"/>
              <a:gd name="connsiteX17" fmla="*/ 680936 w 8511702"/>
              <a:gd name="connsiteY17" fmla="*/ 7130375 h 7130375"/>
              <a:gd name="connsiteX18" fmla="*/ 0 w 8511702"/>
              <a:gd name="connsiteY18" fmla="*/ 5797685 h 7130375"/>
              <a:gd name="connsiteX0" fmla="*/ 0 w 10048672"/>
              <a:gd name="connsiteY0" fmla="*/ 5875506 h 7208196"/>
              <a:gd name="connsiteX1" fmla="*/ 919713 w 10048672"/>
              <a:gd name="connsiteY1" fmla="*/ 6001965 h 7208196"/>
              <a:gd name="connsiteX2" fmla="*/ 2519464 w 10048672"/>
              <a:gd name="connsiteY2" fmla="*/ 5359940 h 7208196"/>
              <a:gd name="connsiteX3" fmla="*/ 4260714 w 10048672"/>
              <a:gd name="connsiteY3" fmla="*/ 4659549 h 7208196"/>
              <a:gd name="connsiteX4" fmla="*/ 5749047 w 10048672"/>
              <a:gd name="connsiteY4" fmla="*/ 3618689 h 7208196"/>
              <a:gd name="connsiteX5" fmla="*/ 6605080 w 10048672"/>
              <a:gd name="connsiteY5" fmla="*/ 3025302 h 7208196"/>
              <a:gd name="connsiteX6" fmla="*/ 7023370 w 10048672"/>
              <a:gd name="connsiteY6" fmla="*/ 2383276 h 7208196"/>
              <a:gd name="connsiteX7" fmla="*/ 7655667 w 10048672"/>
              <a:gd name="connsiteY7" fmla="*/ 165370 h 7208196"/>
              <a:gd name="connsiteX8" fmla="*/ 10048672 w 10048672"/>
              <a:gd name="connsiteY8" fmla="*/ 0 h 7208196"/>
              <a:gd name="connsiteX9" fmla="*/ 8511702 w 10048672"/>
              <a:gd name="connsiteY9" fmla="*/ 3492229 h 7208196"/>
              <a:gd name="connsiteX10" fmla="*/ 8433881 w 10048672"/>
              <a:gd name="connsiteY10" fmla="*/ 4173166 h 7208196"/>
              <a:gd name="connsiteX11" fmla="*/ 8180961 w 10048672"/>
              <a:gd name="connsiteY11" fmla="*/ 4601183 h 7208196"/>
              <a:gd name="connsiteX12" fmla="*/ 7928042 w 10048672"/>
              <a:gd name="connsiteY12" fmla="*/ 5379396 h 7208196"/>
              <a:gd name="connsiteX13" fmla="*/ 7908587 w 10048672"/>
              <a:gd name="connsiteY13" fmla="*/ 5505855 h 7208196"/>
              <a:gd name="connsiteX14" fmla="*/ 7188740 w 10048672"/>
              <a:gd name="connsiteY14" fmla="*/ 6536987 h 7208196"/>
              <a:gd name="connsiteX15" fmla="*/ 6780178 w 10048672"/>
              <a:gd name="connsiteY15" fmla="*/ 6877455 h 7208196"/>
              <a:gd name="connsiteX16" fmla="*/ 6089514 w 10048672"/>
              <a:gd name="connsiteY16" fmla="*/ 7159557 h 7208196"/>
              <a:gd name="connsiteX17" fmla="*/ 680936 w 10048672"/>
              <a:gd name="connsiteY17" fmla="*/ 7208196 h 7208196"/>
              <a:gd name="connsiteX18" fmla="*/ 0 w 10048672"/>
              <a:gd name="connsiteY18" fmla="*/ 5875506 h 7208196"/>
              <a:gd name="connsiteX0" fmla="*/ 0 w 10077855"/>
              <a:gd name="connsiteY0" fmla="*/ 5875506 h 7208196"/>
              <a:gd name="connsiteX1" fmla="*/ 919713 w 10077855"/>
              <a:gd name="connsiteY1" fmla="*/ 6001965 h 7208196"/>
              <a:gd name="connsiteX2" fmla="*/ 2519464 w 10077855"/>
              <a:gd name="connsiteY2" fmla="*/ 5359940 h 7208196"/>
              <a:gd name="connsiteX3" fmla="*/ 4260714 w 10077855"/>
              <a:gd name="connsiteY3" fmla="*/ 4659549 h 7208196"/>
              <a:gd name="connsiteX4" fmla="*/ 5749047 w 10077855"/>
              <a:gd name="connsiteY4" fmla="*/ 3618689 h 7208196"/>
              <a:gd name="connsiteX5" fmla="*/ 6605080 w 10077855"/>
              <a:gd name="connsiteY5" fmla="*/ 3025302 h 7208196"/>
              <a:gd name="connsiteX6" fmla="*/ 7023370 w 10077855"/>
              <a:gd name="connsiteY6" fmla="*/ 2383276 h 7208196"/>
              <a:gd name="connsiteX7" fmla="*/ 7655667 w 10077855"/>
              <a:gd name="connsiteY7" fmla="*/ 165370 h 7208196"/>
              <a:gd name="connsiteX8" fmla="*/ 10048672 w 10077855"/>
              <a:gd name="connsiteY8" fmla="*/ 0 h 7208196"/>
              <a:gd name="connsiteX9" fmla="*/ 10077855 w 10077855"/>
              <a:gd name="connsiteY9" fmla="*/ 4182893 h 7208196"/>
              <a:gd name="connsiteX10" fmla="*/ 8433881 w 10077855"/>
              <a:gd name="connsiteY10" fmla="*/ 4173166 h 7208196"/>
              <a:gd name="connsiteX11" fmla="*/ 8180961 w 10077855"/>
              <a:gd name="connsiteY11" fmla="*/ 4601183 h 7208196"/>
              <a:gd name="connsiteX12" fmla="*/ 7928042 w 10077855"/>
              <a:gd name="connsiteY12" fmla="*/ 5379396 h 7208196"/>
              <a:gd name="connsiteX13" fmla="*/ 7908587 w 10077855"/>
              <a:gd name="connsiteY13" fmla="*/ 5505855 h 7208196"/>
              <a:gd name="connsiteX14" fmla="*/ 7188740 w 10077855"/>
              <a:gd name="connsiteY14" fmla="*/ 6536987 h 7208196"/>
              <a:gd name="connsiteX15" fmla="*/ 6780178 w 10077855"/>
              <a:gd name="connsiteY15" fmla="*/ 6877455 h 7208196"/>
              <a:gd name="connsiteX16" fmla="*/ 6089514 w 10077855"/>
              <a:gd name="connsiteY16" fmla="*/ 7159557 h 7208196"/>
              <a:gd name="connsiteX17" fmla="*/ 680936 w 10077855"/>
              <a:gd name="connsiteY17" fmla="*/ 7208196 h 7208196"/>
              <a:gd name="connsiteX18" fmla="*/ 0 w 10077855"/>
              <a:gd name="connsiteY18" fmla="*/ 5875506 h 7208196"/>
              <a:gd name="connsiteX0" fmla="*/ 0 w 10107038"/>
              <a:gd name="connsiteY0" fmla="*/ 5875506 h 7208196"/>
              <a:gd name="connsiteX1" fmla="*/ 919713 w 10107038"/>
              <a:gd name="connsiteY1" fmla="*/ 6001965 h 7208196"/>
              <a:gd name="connsiteX2" fmla="*/ 2519464 w 10107038"/>
              <a:gd name="connsiteY2" fmla="*/ 5359940 h 7208196"/>
              <a:gd name="connsiteX3" fmla="*/ 4260714 w 10107038"/>
              <a:gd name="connsiteY3" fmla="*/ 4659549 h 7208196"/>
              <a:gd name="connsiteX4" fmla="*/ 5749047 w 10107038"/>
              <a:gd name="connsiteY4" fmla="*/ 3618689 h 7208196"/>
              <a:gd name="connsiteX5" fmla="*/ 6605080 w 10107038"/>
              <a:gd name="connsiteY5" fmla="*/ 3025302 h 7208196"/>
              <a:gd name="connsiteX6" fmla="*/ 7023370 w 10107038"/>
              <a:gd name="connsiteY6" fmla="*/ 2383276 h 7208196"/>
              <a:gd name="connsiteX7" fmla="*/ 7655667 w 10107038"/>
              <a:gd name="connsiteY7" fmla="*/ 165370 h 7208196"/>
              <a:gd name="connsiteX8" fmla="*/ 10048672 w 10107038"/>
              <a:gd name="connsiteY8" fmla="*/ 0 h 7208196"/>
              <a:gd name="connsiteX9" fmla="*/ 10077855 w 10107038"/>
              <a:gd name="connsiteY9" fmla="*/ 4182893 h 7208196"/>
              <a:gd name="connsiteX10" fmla="*/ 8433881 w 10107038"/>
              <a:gd name="connsiteY10" fmla="*/ 4173166 h 7208196"/>
              <a:gd name="connsiteX11" fmla="*/ 10107038 w 10107038"/>
              <a:gd name="connsiteY11" fmla="*/ 5924145 h 7208196"/>
              <a:gd name="connsiteX12" fmla="*/ 7928042 w 10107038"/>
              <a:gd name="connsiteY12" fmla="*/ 5379396 h 7208196"/>
              <a:gd name="connsiteX13" fmla="*/ 7908587 w 10107038"/>
              <a:gd name="connsiteY13" fmla="*/ 5505855 h 7208196"/>
              <a:gd name="connsiteX14" fmla="*/ 7188740 w 10107038"/>
              <a:gd name="connsiteY14" fmla="*/ 6536987 h 7208196"/>
              <a:gd name="connsiteX15" fmla="*/ 6780178 w 10107038"/>
              <a:gd name="connsiteY15" fmla="*/ 6877455 h 7208196"/>
              <a:gd name="connsiteX16" fmla="*/ 6089514 w 10107038"/>
              <a:gd name="connsiteY16" fmla="*/ 7159557 h 7208196"/>
              <a:gd name="connsiteX17" fmla="*/ 680936 w 10107038"/>
              <a:gd name="connsiteY17" fmla="*/ 7208196 h 7208196"/>
              <a:gd name="connsiteX18" fmla="*/ 0 w 10107038"/>
              <a:gd name="connsiteY18" fmla="*/ 5875506 h 7208196"/>
              <a:gd name="connsiteX0" fmla="*/ 0 w 10107038"/>
              <a:gd name="connsiteY0" fmla="*/ 5875506 h 7208196"/>
              <a:gd name="connsiteX1" fmla="*/ 919713 w 10107038"/>
              <a:gd name="connsiteY1" fmla="*/ 6001965 h 7208196"/>
              <a:gd name="connsiteX2" fmla="*/ 2519464 w 10107038"/>
              <a:gd name="connsiteY2" fmla="*/ 5359940 h 7208196"/>
              <a:gd name="connsiteX3" fmla="*/ 4260714 w 10107038"/>
              <a:gd name="connsiteY3" fmla="*/ 4659549 h 7208196"/>
              <a:gd name="connsiteX4" fmla="*/ 5749047 w 10107038"/>
              <a:gd name="connsiteY4" fmla="*/ 3618689 h 7208196"/>
              <a:gd name="connsiteX5" fmla="*/ 6605080 w 10107038"/>
              <a:gd name="connsiteY5" fmla="*/ 3025302 h 7208196"/>
              <a:gd name="connsiteX6" fmla="*/ 7023370 w 10107038"/>
              <a:gd name="connsiteY6" fmla="*/ 2383276 h 7208196"/>
              <a:gd name="connsiteX7" fmla="*/ 7655667 w 10107038"/>
              <a:gd name="connsiteY7" fmla="*/ 165370 h 7208196"/>
              <a:gd name="connsiteX8" fmla="*/ 10048672 w 10107038"/>
              <a:gd name="connsiteY8" fmla="*/ 0 h 7208196"/>
              <a:gd name="connsiteX9" fmla="*/ 10077855 w 10107038"/>
              <a:gd name="connsiteY9" fmla="*/ 4182893 h 7208196"/>
              <a:gd name="connsiteX10" fmla="*/ 10077855 w 10107038"/>
              <a:gd name="connsiteY10" fmla="*/ 4737370 h 7208196"/>
              <a:gd name="connsiteX11" fmla="*/ 10107038 w 10107038"/>
              <a:gd name="connsiteY11" fmla="*/ 5924145 h 7208196"/>
              <a:gd name="connsiteX12" fmla="*/ 7928042 w 10107038"/>
              <a:gd name="connsiteY12" fmla="*/ 5379396 h 7208196"/>
              <a:gd name="connsiteX13" fmla="*/ 7908587 w 10107038"/>
              <a:gd name="connsiteY13" fmla="*/ 5505855 h 7208196"/>
              <a:gd name="connsiteX14" fmla="*/ 7188740 w 10107038"/>
              <a:gd name="connsiteY14" fmla="*/ 6536987 h 7208196"/>
              <a:gd name="connsiteX15" fmla="*/ 6780178 w 10107038"/>
              <a:gd name="connsiteY15" fmla="*/ 6877455 h 7208196"/>
              <a:gd name="connsiteX16" fmla="*/ 6089514 w 10107038"/>
              <a:gd name="connsiteY16" fmla="*/ 7159557 h 7208196"/>
              <a:gd name="connsiteX17" fmla="*/ 680936 w 10107038"/>
              <a:gd name="connsiteY17" fmla="*/ 7208196 h 7208196"/>
              <a:gd name="connsiteX18" fmla="*/ 0 w 10107038"/>
              <a:gd name="connsiteY18" fmla="*/ 5875506 h 7208196"/>
              <a:gd name="connsiteX0" fmla="*/ 0 w 10262681"/>
              <a:gd name="connsiteY0" fmla="*/ 5875506 h 7208196"/>
              <a:gd name="connsiteX1" fmla="*/ 919713 w 10262681"/>
              <a:gd name="connsiteY1" fmla="*/ 6001965 h 7208196"/>
              <a:gd name="connsiteX2" fmla="*/ 2519464 w 10262681"/>
              <a:gd name="connsiteY2" fmla="*/ 5359940 h 7208196"/>
              <a:gd name="connsiteX3" fmla="*/ 4260714 w 10262681"/>
              <a:gd name="connsiteY3" fmla="*/ 4659549 h 7208196"/>
              <a:gd name="connsiteX4" fmla="*/ 5749047 w 10262681"/>
              <a:gd name="connsiteY4" fmla="*/ 3618689 h 7208196"/>
              <a:gd name="connsiteX5" fmla="*/ 6605080 w 10262681"/>
              <a:gd name="connsiteY5" fmla="*/ 3025302 h 7208196"/>
              <a:gd name="connsiteX6" fmla="*/ 7023370 w 10262681"/>
              <a:gd name="connsiteY6" fmla="*/ 2383276 h 7208196"/>
              <a:gd name="connsiteX7" fmla="*/ 7655667 w 10262681"/>
              <a:gd name="connsiteY7" fmla="*/ 165370 h 7208196"/>
              <a:gd name="connsiteX8" fmla="*/ 10048672 w 10262681"/>
              <a:gd name="connsiteY8" fmla="*/ 0 h 7208196"/>
              <a:gd name="connsiteX9" fmla="*/ 10077855 w 10262681"/>
              <a:gd name="connsiteY9" fmla="*/ 4182893 h 7208196"/>
              <a:gd name="connsiteX10" fmla="*/ 10077855 w 10262681"/>
              <a:gd name="connsiteY10" fmla="*/ 4737370 h 7208196"/>
              <a:gd name="connsiteX11" fmla="*/ 10107038 w 10262681"/>
              <a:gd name="connsiteY11" fmla="*/ 5924145 h 7208196"/>
              <a:gd name="connsiteX12" fmla="*/ 10262681 w 10262681"/>
              <a:gd name="connsiteY12" fmla="*/ 6731541 h 7208196"/>
              <a:gd name="connsiteX13" fmla="*/ 7908587 w 10262681"/>
              <a:gd name="connsiteY13" fmla="*/ 5505855 h 7208196"/>
              <a:gd name="connsiteX14" fmla="*/ 7188740 w 10262681"/>
              <a:gd name="connsiteY14" fmla="*/ 6536987 h 7208196"/>
              <a:gd name="connsiteX15" fmla="*/ 6780178 w 10262681"/>
              <a:gd name="connsiteY15" fmla="*/ 6877455 h 7208196"/>
              <a:gd name="connsiteX16" fmla="*/ 6089514 w 10262681"/>
              <a:gd name="connsiteY16" fmla="*/ 7159557 h 7208196"/>
              <a:gd name="connsiteX17" fmla="*/ 680936 w 10262681"/>
              <a:gd name="connsiteY17" fmla="*/ 7208196 h 7208196"/>
              <a:gd name="connsiteX18" fmla="*/ 0 w 10262681"/>
              <a:gd name="connsiteY18" fmla="*/ 5875506 h 7208196"/>
              <a:gd name="connsiteX0" fmla="*/ 0 w 10262681"/>
              <a:gd name="connsiteY0" fmla="*/ 5875506 h 7208196"/>
              <a:gd name="connsiteX1" fmla="*/ 919713 w 10262681"/>
              <a:gd name="connsiteY1" fmla="*/ 6001965 h 7208196"/>
              <a:gd name="connsiteX2" fmla="*/ 2519464 w 10262681"/>
              <a:gd name="connsiteY2" fmla="*/ 5359940 h 7208196"/>
              <a:gd name="connsiteX3" fmla="*/ 4260714 w 10262681"/>
              <a:gd name="connsiteY3" fmla="*/ 4659549 h 7208196"/>
              <a:gd name="connsiteX4" fmla="*/ 5749047 w 10262681"/>
              <a:gd name="connsiteY4" fmla="*/ 3618689 h 7208196"/>
              <a:gd name="connsiteX5" fmla="*/ 6605080 w 10262681"/>
              <a:gd name="connsiteY5" fmla="*/ 3025302 h 7208196"/>
              <a:gd name="connsiteX6" fmla="*/ 7023370 w 10262681"/>
              <a:gd name="connsiteY6" fmla="*/ 2383276 h 7208196"/>
              <a:gd name="connsiteX7" fmla="*/ 7655667 w 10262681"/>
              <a:gd name="connsiteY7" fmla="*/ 165370 h 7208196"/>
              <a:gd name="connsiteX8" fmla="*/ 10048672 w 10262681"/>
              <a:gd name="connsiteY8" fmla="*/ 0 h 7208196"/>
              <a:gd name="connsiteX9" fmla="*/ 10077855 w 10262681"/>
              <a:gd name="connsiteY9" fmla="*/ 4182893 h 7208196"/>
              <a:gd name="connsiteX10" fmla="*/ 10077855 w 10262681"/>
              <a:gd name="connsiteY10" fmla="*/ 4737370 h 7208196"/>
              <a:gd name="connsiteX11" fmla="*/ 10262681 w 10262681"/>
              <a:gd name="connsiteY11" fmla="*/ 6731541 h 7208196"/>
              <a:gd name="connsiteX12" fmla="*/ 7908587 w 10262681"/>
              <a:gd name="connsiteY12" fmla="*/ 5505855 h 7208196"/>
              <a:gd name="connsiteX13" fmla="*/ 7188740 w 10262681"/>
              <a:gd name="connsiteY13" fmla="*/ 6536987 h 7208196"/>
              <a:gd name="connsiteX14" fmla="*/ 6780178 w 10262681"/>
              <a:gd name="connsiteY14" fmla="*/ 6877455 h 7208196"/>
              <a:gd name="connsiteX15" fmla="*/ 6089514 w 10262681"/>
              <a:gd name="connsiteY15" fmla="*/ 7159557 h 7208196"/>
              <a:gd name="connsiteX16" fmla="*/ 680936 w 10262681"/>
              <a:gd name="connsiteY16" fmla="*/ 7208196 h 7208196"/>
              <a:gd name="connsiteX17" fmla="*/ 0 w 10262681"/>
              <a:gd name="connsiteY17" fmla="*/ 5875506 h 7208196"/>
              <a:gd name="connsiteX0" fmla="*/ 0 w 10262681"/>
              <a:gd name="connsiteY0" fmla="*/ 5875506 h 7208196"/>
              <a:gd name="connsiteX1" fmla="*/ 919713 w 10262681"/>
              <a:gd name="connsiteY1" fmla="*/ 6001965 h 7208196"/>
              <a:gd name="connsiteX2" fmla="*/ 2519464 w 10262681"/>
              <a:gd name="connsiteY2" fmla="*/ 5359940 h 7208196"/>
              <a:gd name="connsiteX3" fmla="*/ 4260714 w 10262681"/>
              <a:gd name="connsiteY3" fmla="*/ 4659549 h 7208196"/>
              <a:gd name="connsiteX4" fmla="*/ 5749047 w 10262681"/>
              <a:gd name="connsiteY4" fmla="*/ 3618689 h 7208196"/>
              <a:gd name="connsiteX5" fmla="*/ 6605080 w 10262681"/>
              <a:gd name="connsiteY5" fmla="*/ 3025302 h 7208196"/>
              <a:gd name="connsiteX6" fmla="*/ 7023370 w 10262681"/>
              <a:gd name="connsiteY6" fmla="*/ 2383276 h 7208196"/>
              <a:gd name="connsiteX7" fmla="*/ 7655667 w 10262681"/>
              <a:gd name="connsiteY7" fmla="*/ 165370 h 7208196"/>
              <a:gd name="connsiteX8" fmla="*/ 10048672 w 10262681"/>
              <a:gd name="connsiteY8" fmla="*/ 0 h 7208196"/>
              <a:gd name="connsiteX9" fmla="*/ 10077855 w 10262681"/>
              <a:gd name="connsiteY9" fmla="*/ 4182893 h 7208196"/>
              <a:gd name="connsiteX10" fmla="*/ 10262681 w 10262681"/>
              <a:gd name="connsiteY10" fmla="*/ 6731541 h 7208196"/>
              <a:gd name="connsiteX11" fmla="*/ 7908587 w 10262681"/>
              <a:gd name="connsiteY11" fmla="*/ 5505855 h 7208196"/>
              <a:gd name="connsiteX12" fmla="*/ 7188740 w 10262681"/>
              <a:gd name="connsiteY12" fmla="*/ 6536987 h 7208196"/>
              <a:gd name="connsiteX13" fmla="*/ 6780178 w 10262681"/>
              <a:gd name="connsiteY13" fmla="*/ 6877455 h 7208196"/>
              <a:gd name="connsiteX14" fmla="*/ 6089514 w 10262681"/>
              <a:gd name="connsiteY14" fmla="*/ 7159557 h 7208196"/>
              <a:gd name="connsiteX15" fmla="*/ 680936 w 10262681"/>
              <a:gd name="connsiteY15" fmla="*/ 7208196 h 7208196"/>
              <a:gd name="connsiteX16" fmla="*/ 0 w 10262681"/>
              <a:gd name="connsiteY16" fmla="*/ 5875506 h 7208196"/>
              <a:gd name="connsiteX0" fmla="*/ 0 w 10262681"/>
              <a:gd name="connsiteY0" fmla="*/ 5875506 h 7208196"/>
              <a:gd name="connsiteX1" fmla="*/ 919713 w 10262681"/>
              <a:gd name="connsiteY1" fmla="*/ 6001965 h 7208196"/>
              <a:gd name="connsiteX2" fmla="*/ 2519464 w 10262681"/>
              <a:gd name="connsiteY2" fmla="*/ 5359940 h 7208196"/>
              <a:gd name="connsiteX3" fmla="*/ 4260714 w 10262681"/>
              <a:gd name="connsiteY3" fmla="*/ 4659549 h 7208196"/>
              <a:gd name="connsiteX4" fmla="*/ 5749047 w 10262681"/>
              <a:gd name="connsiteY4" fmla="*/ 3618689 h 7208196"/>
              <a:gd name="connsiteX5" fmla="*/ 6605080 w 10262681"/>
              <a:gd name="connsiteY5" fmla="*/ 3025302 h 7208196"/>
              <a:gd name="connsiteX6" fmla="*/ 7023370 w 10262681"/>
              <a:gd name="connsiteY6" fmla="*/ 2383276 h 7208196"/>
              <a:gd name="connsiteX7" fmla="*/ 7655667 w 10262681"/>
              <a:gd name="connsiteY7" fmla="*/ 165370 h 7208196"/>
              <a:gd name="connsiteX8" fmla="*/ 10048672 w 10262681"/>
              <a:gd name="connsiteY8" fmla="*/ 0 h 7208196"/>
              <a:gd name="connsiteX9" fmla="*/ 10262681 w 10262681"/>
              <a:gd name="connsiteY9" fmla="*/ 6731541 h 7208196"/>
              <a:gd name="connsiteX10" fmla="*/ 7908587 w 10262681"/>
              <a:gd name="connsiteY10" fmla="*/ 5505855 h 7208196"/>
              <a:gd name="connsiteX11" fmla="*/ 7188740 w 10262681"/>
              <a:gd name="connsiteY11" fmla="*/ 6536987 h 7208196"/>
              <a:gd name="connsiteX12" fmla="*/ 6780178 w 10262681"/>
              <a:gd name="connsiteY12" fmla="*/ 6877455 h 7208196"/>
              <a:gd name="connsiteX13" fmla="*/ 6089514 w 10262681"/>
              <a:gd name="connsiteY13" fmla="*/ 7159557 h 7208196"/>
              <a:gd name="connsiteX14" fmla="*/ 680936 w 10262681"/>
              <a:gd name="connsiteY14" fmla="*/ 7208196 h 7208196"/>
              <a:gd name="connsiteX15" fmla="*/ 0 w 10262681"/>
              <a:gd name="connsiteY15" fmla="*/ 5875506 h 7208196"/>
              <a:gd name="connsiteX0" fmla="*/ 0 w 10262681"/>
              <a:gd name="connsiteY0" fmla="*/ 5875506 h 7237379"/>
              <a:gd name="connsiteX1" fmla="*/ 919713 w 10262681"/>
              <a:gd name="connsiteY1" fmla="*/ 6001965 h 7237379"/>
              <a:gd name="connsiteX2" fmla="*/ 2519464 w 10262681"/>
              <a:gd name="connsiteY2" fmla="*/ 5359940 h 7237379"/>
              <a:gd name="connsiteX3" fmla="*/ 4260714 w 10262681"/>
              <a:gd name="connsiteY3" fmla="*/ 4659549 h 7237379"/>
              <a:gd name="connsiteX4" fmla="*/ 5749047 w 10262681"/>
              <a:gd name="connsiteY4" fmla="*/ 3618689 h 7237379"/>
              <a:gd name="connsiteX5" fmla="*/ 6605080 w 10262681"/>
              <a:gd name="connsiteY5" fmla="*/ 3025302 h 7237379"/>
              <a:gd name="connsiteX6" fmla="*/ 7023370 w 10262681"/>
              <a:gd name="connsiteY6" fmla="*/ 2383276 h 7237379"/>
              <a:gd name="connsiteX7" fmla="*/ 7655667 w 10262681"/>
              <a:gd name="connsiteY7" fmla="*/ 165370 h 7237379"/>
              <a:gd name="connsiteX8" fmla="*/ 10048672 w 10262681"/>
              <a:gd name="connsiteY8" fmla="*/ 0 h 7237379"/>
              <a:gd name="connsiteX9" fmla="*/ 10262681 w 10262681"/>
              <a:gd name="connsiteY9" fmla="*/ 6731541 h 7237379"/>
              <a:gd name="connsiteX10" fmla="*/ 9990306 w 10262681"/>
              <a:gd name="connsiteY10" fmla="*/ 7237379 h 7237379"/>
              <a:gd name="connsiteX11" fmla="*/ 7188740 w 10262681"/>
              <a:gd name="connsiteY11" fmla="*/ 6536987 h 7237379"/>
              <a:gd name="connsiteX12" fmla="*/ 6780178 w 10262681"/>
              <a:gd name="connsiteY12" fmla="*/ 6877455 h 7237379"/>
              <a:gd name="connsiteX13" fmla="*/ 6089514 w 10262681"/>
              <a:gd name="connsiteY13" fmla="*/ 7159557 h 7237379"/>
              <a:gd name="connsiteX14" fmla="*/ 680936 w 10262681"/>
              <a:gd name="connsiteY14" fmla="*/ 7208196 h 7237379"/>
              <a:gd name="connsiteX15" fmla="*/ 0 w 10262681"/>
              <a:gd name="connsiteY15" fmla="*/ 5875506 h 7237379"/>
              <a:gd name="connsiteX0" fmla="*/ 0 w 10262681"/>
              <a:gd name="connsiteY0" fmla="*/ 5875506 h 7344383"/>
              <a:gd name="connsiteX1" fmla="*/ 919713 w 10262681"/>
              <a:gd name="connsiteY1" fmla="*/ 6001965 h 7344383"/>
              <a:gd name="connsiteX2" fmla="*/ 2519464 w 10262681"/>
              <a:gd name="connsiteY2" fmla="*/ 5359940 h 7344383"/>
              <a:gd name="connsiteX3" fmla="*/ 4260714 w 10262681"/>
              <a:gd name="connsiteY3" fmla="*/ 4659549 h 7344383"/>
              <a:gd name="connsiteX4" fmla="*/ 5749047 w 10262681"/>
              <a:gd name="connsiteY4" fmla="*/ 3618689 h 7344383"/>
              <a:gd name="connsiteX5" fmla="*/ 6605080 w 10262681"/>
              <a:gd name="connsiteY5" fmla="*/ 3025302 h 7344383"/>
              <a:gd name="connsiteX6" fmla="*/ 7023370 w 10262681"/>
              <a:gd name="connsiteY6" fmla="*/ 2383276 h 7344383"/>
              <a:gd name="connsiteX7" fmla="*/ 7655667 w 10262681"/>
              <a:gd name="connsiteY7" fmla="*/ 165370 h 7344383"/>
              <a:gd name="connsiteX8" fmla="*/ 10048672 w 10262681"/>
              <a:gd name="connsiteY8" fmla="*/ 0 h 7344383"/>
              <a:gd name="connsiteX9" fmla="*/ 10262681 w 10262681"/>
              <a:gd name="connsiteY9" fmla="*/ 6731541 h 7344383"/>
              <a:gd name="connsiteX10" fmla="*/ 9990306 w 10262681"/>
              <a:gd name="connsiteY10" fmla="*/ 7237379 h 7344383"/>
              <a:gd name="connsiteX11" fmla="*/ 7198468 w 10262681"/>
              <a:gd name="connsiteY11" fmla="*/ 7344383 h 7344383"/>
              <a:gd name="connsiteX12" fmla="*/ 6780178 w 10262681"/>
              <a:gd name="connsiteY12" fmla="*/ 6877455 h 7344383"/>
              <a:gd name="connsiteX13" fmla="*/ 6089514 w 10262681"/>
              <a:gd name="connsiteY13" fmla="*/ 7159557 h 7344383"/>
              <a:gd name="connsiteX14" fmla="*/ 680936 w 10262681"/>
              <a:gd name="connsiteY14" fmla="*/ 7208196 h 7344383"/>
              <a:gd name="connsiteX15" fmla="*/ 0 w 10262681"/>
              <a:gd name="connsiteY15" fmla="*/ 5875506 h 7344383"/>
              <a:gd name="connsiteX0" fmla="*/ 0 w 10262681"/>
              <a:gd name="connsiteY0" fmla="*/ 5875506 h 7461114"/>
              <a:gd name="connsiteX1" fmla="*/ 919713 w 10262681"/>
              <a:gd name="connsiteY1" fmla="*/ 6001965 h 7461114"/>
              <a:gd name="connsiteX2" fmla="*/ 2519464 w 10262681"/>
              <a:gd name="connsiteY2" fmla="*/ 5359940 h 7461114"/>
              <a:gd name="connsiteX3" fmla="*/ 4260714 w 10262681"/>
              <a:gd name="connsiteY3" fmla="*/ 4659549 h 7461114"/>
              <a:gd name="connsiteX4" fmla="*/ 5749047 w 10262681"/>
              <a:gd name="connsiteY4" fmla="*/ 3618689 h 7461114"/>
              <a:gd name="connsiteX5" fmla="*/ 6605080 w 10262681"/>
              <a:gd name="connsiteY5" fmla="*/ 3025302 h 7461114"/>
              <a:gd name="connsiteX6" fmla="*/ 7023370 w 10262681"/>
              <a:gd name="connsiteY6" fmla="*/ 2383276 h 7461114"/>
              <a:gd name="connsiteX7" fmla="*/ 7655667 w 10262681"/>
              <a:gd name="connsiteY7" fmla="*/ 165370 h 7461114"/>
              <a:gd name="connsiteX8" fmla="*/ 10048672 w 10262681"/>
              <a:gd name="connsiteY8" fmla="*/ 0 h 7461114"/>
              <a:gd name="connsiteX9" fmla="*/ 10262681 w 10262681"/>
              <a:gd name="connsiteY9" fmla="*/ 6731541 h 7461114"/>
              <a:gd name="connsiteX10" fmla="*/ 9990306 w 10262681"/>
              <a:gd name="connsiteY10" fmla="*/ 7237379 h 7461114"/>
              <a:gd name="connsiteX11" fmla="*/ 7198468 w 10262681"/>
              <a:gd name="connsiteY11" fmla="*/ 7344383 h 7461114"/>
              <a:gd name="connsiteX12" fmla="*/ 6702357 w 10262681"/>
              <a:gd name="connsiteY12" fmla="*/ 7461114 h 7461114"/>
              <a:gd name="connsiteX13" fmla="*/ 6089514 w 10262681"/>
              <a:gd name="connsiteY13" fmla="*/ 7159557 h 7461114"/>
              <a:gd name="connsiteX14" fmla="*/ 680936 w 10262681"/>
              <a:gd name="connsiteY14" fmla="*/ 7208196 h 7461114"/>
              <a:gd name="connsiteX15" fmla="*/ 0 w 10262681"/>
              <a:gd name="connsiteY15" fmla="*/ 5875506 h 7461114"/>
              <a:gd name="connsiteX0" fmla="*/ 10262681 w 10262681"/>
              <a:gd name="connsiteY0" fmla="*/ 6640101 h 7369674"/>
              <a:gd name="connsiteX1" fmla="*/ 9990306 w 10262681"/>
              <a:gd name="connsiteY1" fmla="*/ 7145939 h 7369674"/>
              <a:gd name="connsiteX2" fmla="*/ 7198468 w 10262681"/>
              <a:gd name="connsiteY2" fmla="*/ 7252943 h 7369674"/>
              <a:gd name="connsiteX3" fmla="*/ 6702357 w 10262681"/>
              <a:gd name="connsiteY3" fmla="*/ 7369674 h 7369674"/>
              <a:gd name="connsiteX4" fmla="*/ 6089514 w 10262681"/>
              <a:gd name="connsiteY4" fmla="*/ 7068117 h 7369674"/>
              <a:gd name="connsiteX5" fmla="*/ 680936 w 10262681"/>
              <a:gd name="connsiteY5" fmla="*/ 7116756 h 7369674"/>
              <a:gd name="connsiteX6" fmla="*/ 0 w 10262681"/>
              <a:gd name="connsiteY6" fmla="*/ 5784066 h 7369674"/>
              <a:gd name="connsiteX7" fmla="*/ 919713 w 10262681"/>
              <a:gd name="connsiteY7" fmla="*/ 5910525 h 7369674"/>
              <a:gd name="connsiteX8" fmla="*/ 2519464 w 10262681"/>
              <a:gd name="connsiteY8" fmla="*/ 5268500 h 7369674"/>
              <a:gd name="connsiteX9" fmla="*/ 4260714 w 10262681"/>
              <a:gd name="connsiteY9" fmla="*/ 4568109 h 7369674"/>
              <a:gd name="connsiteX10" fmla="*/ 5749047 w 10262681"/>
              <a:gd name="connsiteY10" fmla="*/ 3527249 h 7369674"/>
              <a:gd name="connsiteX11" fmla="*/ 6605080 w 10262681"/>
              <a:gd name="connsiteY11" fmla="*/ 2933862 h 7369674"/>
              <a:gd name="connsiteX12" fmla="*/ 7023370 w 10262681"/>
              <a:gd name="connsiteY12" fmla="*/ 2291836 h 7369674"/>
              <a:gd name="connsiteX13" fmla="*/ 7655667 w 10262681"/>
              <a:gd name="connsiteY13" fmla="*/ 73930 h 7369674"/>
              <a:gd name="connsiteX14" fmla="*/ 10140112 w 10262681"/>
              <a:gd name="connsiteY14" fmla="*/ 0 h 7369674"/>
              <a:gd name="connsiteX0" fmla="*/ 9990306 w 10140112"/>
              <a:gd name="connsiteY0" fmla="*/ 7145939 h 7369674"/>
              <a:gd name="connsiteX1" fmla="*/ 7198468 w 10140112"/>
              <a:gd name="connsiteY1" fmla="*/ 7252943 h 7369674"/>
              <a:gd name="connsiteX2" fmla="*/ 6702357 w 10140112"/>
              <a:gd name="connsiteY2" fmla="*/ 7369674 h 7369674"/>
              <a:gd name="connsiteX3" fmla="*/ 6089514 w 10140112"/>
              <a:gd name="connsiteY3" fmla="*/ 7068117 h 7369674"/>
              <a:gd name="connsiteX4" fmla="*/ 680936 w 10140112"/>
              <a:gd name="connsiteY4" fmla="*/ 7116756 h 7369674"/>
              <a:gd name="connsiteX5" fmla="*/ 0 w 10140112"/>
              <a:gd name="connsiteY5" fmla="*/ 5784066 h 7369674"/>
              <a:gd name="connsiteX6" fmla="*/ 919713 w 10140112"/>
              <a:gd name="connsiteY6" fmla="*/ 5910525 h 7369674"/>
              <a:gd name="connsiteX7" fmla="*/ 2519464 w 10140112"/>
              <a:gd name="connsiteY7" fmla="*/ 5268500 h 7369674"/>
              <a:gd name="connsiteX8" fmla="*/ 4260714 w 10140112"/>
              <a:gd name="connsiteY8" fmla="*/ 4568109 h 7369674"/>
              <a:gd name="connsiteX9" fmla="*/ 5749047 w 10140112"/>
              <a:gd name="connsiteY9" fmla="*/ 3527249 h 7369674"/>
              <a:gd name="connsiteX10" fmla="*/ 6605080 w 10140112"/>
              <a:gd name="connsiteY10" fmla="*/ 2933862 h 7369674"/>
              <a:gd name="connsiteX11" fmla="*/ 7023370 w 10140112"/>
              <a:gd name="connsiteY11" fmla="*/ 2291836 h 7369674"/>
              <a:gd name="connsiteX12" fmla="*/ 7655667 w 10140112"/>
              <a:gd name="connsiteY12" fmla="*/ 73930 h 7369674"/>
              <a:gd name="connsiteX13" fmla="*/ 10140112 w 10140112"/>
              <a:gd name="connsiteY13" fmla="*/ 0 h 7369674"/>
              <a:gd name="connsiteX0" fmla="*/ 10107038 w 10256844"/>
              <a:gd name="connsiteY0" fmla="*/ 7145939 h 7369674"/>
              <a:gd name="connsiteX1" fmla="*/ 7315200 w 10256844"/>
              <a:gd name="connsiteY1" fmla="*/ 7252943 h 7369674"/>
              <a:gd name="connsiteX2" fmla="*/ 6819089 w 10256844"/>
              <a:gd name="connsiteY2" fmla="*/ 7369674 h 7369674"/>
              <a:gd name="connsiteX3" fmla="*/ 6206246 w 10256844"/>
              <a:gd name="connsiteY3" fmla="*/ 7068117 h 7369674"/>
              <a:gd name="connsiteX4" fmla="*/ 797668 w 10256844"/>
              <a:gd name="connsiteY4" fmla="*/ 7116756 h 7369674"/>
              <a:gd name="connsiteX5" fmla="*/ 0 w 10256844"/>
              <a:gd name="connsiteY5" fmla="*/ 6202355 h 7369674"/>
              <a:gd name="connsiteX6" fmla="*/ 1036445 w 10256844"/>
              <a:gd name="connsiteY6" fmla="*/ 5910525 h 7369674"/>
              <a:gd name="connsiteX7" fmla="*/ 2636196 w 10256844"/>
              <a:gd name="connsiteY7" fmla="*/ 5268500 h 7369674"/>
              <a:gd name="connsiteX8" fmla="*/ 4377446 w 10256844"/>
              <a:gd name="connsiteY8" fmla="*/ 4568109 h 7369674"/>
              <a:gd name="connsiteX9" fmla="*/ 5865779 w 10256844"/>
              <a:gd name="connsiteY9" fmla="*/ 3527249 h 7369674"/>
              <a:gd name="connsiteX10" fmla="*/ 6721812 w 10256844"/>
              <a:gd name="connsiteY10" fmla="*/ 2933862 h 7369674"/>
              <a:gd name="connsiteX11" fmla="*/ 7140102 w 10256844"/>
              <a:gd name="connsiteY11" fmla="*/ 2291836 h 7369674"/>
              <a:gd name="connsiteX12" fmla="*/ 7772399 w 10256844"/>
              <a:gd name="connsiteY12" fmla="*/ 73930 h 7369674"/>
              <a:gd name="connsiteX13" fmla="*/ 10256844 w 10256844"/>
              <a:gd name="connsiteY13" fmla="*/ 0 h 7369674"/>
              <a:gd name="connsiteX0" fmla="*/ 10243225 w 10393031"/>
              <a:gd name="connsiteY0" fmla="*/ 7145939 h 7369674"/>
              <a:gd name="connsiteX1" fmla="*/ 7451387 w 10393031"/>
              <a:gd name="connsiteY1" fmla="*/ 7252943 h 7369674"/>
              <a:gd name="connsiteX2" fmla="*/ 6955276 w 10393031"/>
              <a:gd name="connsiteY2" fmla="*/ 7369674 h 7369674"/>
              <a:gd name="connsiteX3" fmla="*/ 6342433 w 10393031"/>
              <a:gd name="connsiteY3" fmla="*/ 7068117 h 7369674"/>
              <a:gd name="connsiteX4" fmla="*/ 933855 w 10393031"/>
              <a:gd name="connsiteY4" fmla="*/ 7116756 h 7369674"/>
              <a:gd name="connsiteX5" fmla="*/ 0 w 10393031"/>
              <a:gd name="connsiteY5" fmla="*/ 6085623 h 7369674"/>
              <a:gd name="connsiteX6" fmla="*/ 1172632 w 10393031"/>
              <a:gd name="connsiteY6" fmla="*/ 5910525 h 7369674"/>
              <a:gd name="connsiteX7" fmla="*/ 2772383 w 10393031"/>
              <a:gd name="connsiteY7" fmla="*/ 5268500 h 7369674"/>
              <a:gd name="connsiteX8" fmla="*/ 4513633 w 10393031"/>
              <a:gd name="connsiteY8" fmla="*/ 4568109 h 7369674"/>
              <a:gd name="connsiteX9" fmla="*/ 6001966 w 10393031"/>
              <a:gd name="connsiteY9" fmla="*/ 3527249 h 7369674"/>
              <a:gd name="connsiteX10" fmla="*/ 6857999 w 10393031"/>
              <a:gd name="connsiteY10" fmla="*/ 2933862 h 7369674"/>
              <a:gd name="connsiteX11" fmla="*/ 7276289 w 10393031"/>
              <a:gd name="connsiteY11" fmla="*/ 2291836 h 7369674"/>
              <a:gd name="connsiteX12" fmla="*/ 7908586 w 10393031"/>
              <a:gd name="connsiteY12" fmla="*/ 73930 h 7369674"/>
              <a:gd name="connsiteX13" fmla="*/ 10393031 w 10393031"/>
              <a:gd name="connsiteY13" fmla="*/ 0 h 7369674"/>
              <a:gd name="connsiteX0" fmla="*/ 10301591 w 10451397"/>
              <a:gd name="connsiteY0" fmla="*/ 7145939 h 7369674"/>
              <a:gd name="connsiteX1" fmla="*/ 7509753 w 10451397"/>
              <a:gd name="connsiteY1" fmla="*/ 7252943 h 7369674"/>
              <a:gd name="connsiteX2" fmla="*/ 7013642 w 10451397"/>
              <a:gd name="connsiteY2" fmla="*/ 7369674 h 7369674"/>
              <a:gd name="connsiteX3" fmla="*/ 6400799 w 10451397"/>
              <a:gd name="connsiteY3" fmla="*/ 7068117 h 7369674"/>
              <a:gd name="connsiteX4" fmla="*/ 992221 w 10451397"/>
              <a:gd name="connsiteY4" fmla="*/ 7116756 h 7369674"/>
              <a:gd name="connsiteX5" fmla="*/ 0 w 10451397"/>
              <a:gd name="connsiteY5" fmla="*/ 6085623 h 7369674"/>
              <a:gd name="connsiteX6" fmla="*/ 1230998 w 10451397"/>
              <a:gd name="connsiteY6" fmla="*/ 5910525 h 7369674"/>
              <a:gd name="connsiteX7" fmla="*/ 2830749 w 10451397"/>
              <a:gd name="connsiteY7" fmla="*/ 5268500 h 7369674"/>
              <a:gd name="connsiteX8" fmla="*/ 4571999 w 10451397"/>
              <a:gd name="connsiteY8" fmla="*/ 4568109 h 7369674"/>
              <a:gd name="connsiteX9" fmla="*/ 6060332 w 10451397"/>
              <a:gd name="connsiteY9" fmla="*/ 3527249 h 7369674"/>
              <a:gd name="connsiteX10" fmla="*/ 6916365 w 10451397"/>
              <a:gd name="connsiteY10" fmla="*/ 2933862 h 7369674"/>
              <a:gd name="connsiteX11" fmla="*/ 7334655 w 10451397"/>
              <a:gd name="connsiteY11" fmla="*/ 2291836 h 7369674"/>
              <a:gd name="connsiteX12" fmla="*/ 7966952 w 10451397"/>
              <a:gd name="connsiteY12" fmla="*/ 73930 h 7369674"/>
              <a:gd name="connsiteX13" fmla="*/ 10451397 w 10451397"/>
              <a:gd name="connsiteY13" fmla="*/ 0 h 7369674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145939 h 7466951"/>
              <a:gd name="connsiteX1" fmla="*/ 7509753 w 10451397"/>
              <a:gd name="connsiteY1" fmla="*/ 7252943 h 7466951"/>
              <a:gd name="connsiteX2" fmla="*/ 7013642 w 10451397"/>
              <a:gd name="connsiteY2" fmla="*/ 7369674 h 7466951"/>
              <a:gd name="connsiteX3" fmla="*/ 6400799 w 10451397"/>
              <a:gd name="connsiteY3" fmla="*/ 7068117 h 7466951"/>
              <a:gd name="connsiteX4" fmla="*/ 564204 w 10451397"/>
              <a:gd name="connsiteY4" fmla="*/ 7466951 h 7466951"/>
              <a:gd name="connsiteX5" fmla="*/ 0 w 10451397"/>
              <a:gd name="connsiteY5" fmla="*/ 6085623 h 7466951"/>
              <a:gd name="connsiteX6" fmla="*/ 1230998 w 10451397"/>
              <a:gd name="connsiteY6" fmla="*/ 5910525 h 7466951"/>
              <a:gd name="connsiteX7" fmla="*/ 2830749 w 10451397"/>
              <a:gd name="connsiteY7" fmla="*/ 5268500 h 7466951"/>
              <a:gd name="connsiteX8" fmla="*/ 4571999 w 10451397"/>
              <a:gd name="connsiteY8" fmla="*/ 4568109 h 7466951"/>
              <a:gd name="connsiteX9" fmla="*/ 6060332 w 10451397"/>
              <a:gd name="connsiteY9" fmla="*/ 3527249 h 7466951"/>
              <a:gd name="connsiteX10" fmla="*/ 6916365 w 10451397"/>
              <a:gd name="connsiteY10" fmla="*/ 2933862 h 7466951"/>
              <a:gd name="connsiteX11" fmla="*/ 7334655 w 10451397"/>
              <a:gd name="connsiteY11" fmla="*/ 2291836 h 7466951"/>
              <a:gd name="connsiteX12" fmla="*/ 7966952 w 10451397"/>
              <a:gd name="connsiteY12" fmla="*/ 73930 h 7466951"/>
              <a:gd name="connsiteX13" fmla="*/ 10451397 w 10451397"/>
              <a:gd name="connsiteY13" fmla="*/ 0 h 7466951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230998 w 10451397"/>
              <a:gd name="connsiteY6" fmla="*/ 6014362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060332 w 10451397"/>
              <a:gd name="connsiteY9" fmla="*/ 3631086 h 7570788"/>
              <a:gd name="connsiteX10" fmla="*/ 6916365 w 10451397"/>
              <a:gd name="connsiteY10" fmla="*/ 3037699 h 7570788"/>
              <a:gd name="connsiteX11" fmla="*/ 7334655 w 10451397"/>
              <a:gd name="connsiteY11" fmla="*/ 2395673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230998 w 10451397"/>
              <a:gd name="connsiteY6" fmla="*/ 6014362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060332 w 10451397"/>
              <a:gd name="connsiteY9" fmla="*/ 363108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060332 w 10451397"/>
              <a:gd name="connsiteY9" fmla="*/ 363108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060332 w 10451397"/>
              <a:gd name="connsiteY9" fmla="*/ 363108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060332 w 10451397"/>
              <a:gd name="connsiteY9" fmla="*/ 363108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085083 w 10451397"/>
              <a:gd name="connsiteY6" fmla="*/ 574198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30749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571999 w 10451397"/>
              <a:gd name="connsiteY8" fmla="*/ 4671946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6118698 w 10451397"/>
              <a:gd name="connsiteY9" fmla="*/ 3669996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846324 w 10451397"/>
              <a:gd name="connsiteY9" fmla="*/ 3718634 h 7570788"/>
              <a:gd name="connsiteX10" fmla="*/ 7334655 w 10451397"/>
              <a:gd name="connsiteY10" fmla="*/ 2395673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846324 w 10451397"/>
              <a:gd name="connsiteY9" fmla="*/ 3718634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885235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717398 w 10451397"/>
              <a:gd name="connsiteY10" fmla="*/ 2989061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814675 w 10451397"/>
              <a:gd name="connsiteY10" fmla="*/ 3037700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814675 w 10451397"/>
              <a:gd name="connsiteY10" fmla="*/ 3037700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814675 w 10451397"/>
              <a:gd name="connsiteY10" fmla="*/ 3037700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814675 w 10451397"/>
              <a:gd name="connsiteY10" fmla="*/ 3037700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814675 w 10451397"/>
              <a:gd name="connsiteY10" fmla="*/ 3037700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6707670 w 10451397"/>
              <a:gd name="connsiteY10" fmla="*/ 3134976 h 7570788"/>
              <a:gd name="connsiteX11" fmla="*/ 7110919 w 10451397"/>
              <a:gd name="connsiteY11" fmla="*/ 2522132 h 7570788"/>
              <a:gd name="connsiteX12" fmla="*/ 7928041 w 10451397"/>
              <a:gd name="connsiteY12" fmla="*/ 12397 h 7570788"/>
              <a:gd name="connsiteX13" fmla="*/ 10451397 w 10451397"/>
              <a:gd name="connsiteY13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5943601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6011695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10301591 w 10451397"/>
              <a:gd name="connsiteY0" fmla="*/ 7249776 h 7570788"/>
              <a:gd name="connsiteX1" fmla="*/ 7509753 w 10451397"/>
              <a:gd name="connsiteY1" fmla="*/ 7356780 h 7570788"/>
              <a:gd name="connsiteX2" fmla="*/ 7013642 w 10451397"/>
              <a:gd name="connsiteY2" fmla="*/ 7473511 h 7570788"/>
              <a:gd name="connsiteX3" fmla="*/ 6400799 w 10451397"/>
              <a:gd name="connsiteY3" fmla="*/ 7171954 h 7570788"/>
              <a:gd name="connsiteX4" fmla="*/ 564204 w 10451397"/>
              <a:gd name="connsiteY4" fmla="*/ 7570788 h 7570788"/>
              <a:gd name="connsiteX5" fmla="*/ 0 w 10451397"/>
              <a:gd name="connsiteY5" fmla="*/ 6189460 h 7570788"/>
              <a:gd name="connsiteX6" fmla="*/ 1143449 w 10451397"/>
              <a:gd name="connsiteY6" fmla="*/ 5907358 h 7570788"/>
              <a:gd name="connsiteX7" fmla="*/ 2879387 w 10451397"/>
              <a:gd name="connsiteY7" fmla="*/ 5372337 h 7570788"/>
              <a:gd name="connsiteX8" fmla="*/ 4348263 w 10451397"/>
              <a:gd name="connsiteY8" fmla="*/ 4808134 h 7570788"/>
              <a:gd name="connsiteX9" fmla="*/ 6011695 w 10451397"/>
              <a:gd name="connsiteY9" fmla="*/ 3728362 h 7570788"/>
              <a:gd name="connsiteX10" fmla="*/ 7110919 w 10451397"/>
              <a:gd name="connsiteY10" fmla="*/ 2522132 h 7570788"/>
              <a:gd name="connsiteX11" fmla="*/ 7928041 w 10451397"/>
              <a:gd name="connsiteY11" fmla="*/ 12397 h 7570788"/>
              <a:gd name="connsiteX12" fmla="*/ 10451397 w 10451397"/>
              <a:gd name="connsiteY12" fmla="*/ 103837 h 7570788"/>
              <a:gd name="connsiteX0" fmla="*/ 9977741 w 10127547"/>
              <a:gd name="connsiteY0" fmla="*/ 7249776 h 7570788"/>
              <a:gd name="connsiteX1" fmla="*/ 7185903 w 10127547"/>
              <a:gd name="connsiteY1" fmla="*/ 7356780 h 7570788"/>
              <a:gd name="connsiteX2" fmla="*/ 6689792 w 10127547"/>
              <a:gd name="connsiteY2" fmla="*/ 7473511 h 7570788"/>
              <a:gd name="connsiteX3" fmla="*/ 6076949 w 10127547"/>
              <a:gd name="connsiteY3" fmla="*/ 7171954 h 7570788"/>
              <a:gd name="connsiteX4" fmla="*/ 240354 w 10127547"/>
              <a:gd name="connsiteY4" fmla="*/ 7570788 h 7570788"/>
              <a:gd name="connsiteX5" fmla="*/ 0 w 10127547"/>
              <a:gd name="connsiteY5" fmla="*/ 6732385 h 7570788"/>
              <a:gd name="connsiteX6" fmla="*/ 819599 w 10127547"/>
              <a:gd name="connsiteY6" fmla="*/ 5907358 h 7570788"/>
              <a:gd name="connsiteX7" fmla="*/ 2555537 w 10127547"/>
              <a:gd name="connsiteY7" fmla="*/ 5372337 h 7570788"/>
              <a:gd name="connsiteX8" fmla="*/ 4024413 w 10127547"/>
              <a:gd name="connsiteY8" fmla="*/ 4808134 h 7570788"/>
              <a:gd name="connsiteX9" fmla="*/ 5687845 w 10127547"/>
              <a:gd name="connsiteY9" fmla="*/ 3728362 h 7570788"/>
              <a:gd name="connsiteX10" fmla="*/ 6787069 w 10127547"/>
              <a:gd name="connsiteY10" fmla="*/ 2522132 h 7570788"/>
              <a:gd name="connsiteX11" fmla="*/ 7604191 w 10127547"/>
              <a:gd name="connsiteY11" fmla="*/ 12397 h 7570788"/>
              <a:gd name="connsiteX12" fmla="*/ 10127547 w 10127547"/>
              <a:gd name="connsiteY12" fmla="*/ 103837 h 7570788"/>
              <a:gd name="connsiteX0" fmla="*/ 10034891 w 10184697"/>
              <a:gd name="connsiteY0" fmla="*/ 7249776 h 7570788"/>
              <a:gd name="connsiteX1" fmla="*/ 7243053 w 10184697"/>
              <a:gd name="connsiteY1" fmla="*/ 7356780 h 7570788"/>
              <a:gd name="connsiteX2" fmla="*/ 6746942 w 10184697"/>
              <a:gd name="connsiteY2" fmla="*/ 7473511 h 7570788"/>
              <a:gd name="connsiteX3" fmla="*/ 6134099 w 10184697"/>
              <a:gd name="connsiteY3" fmla="*/ 7171954 h 7570788"/>
              <a:gd name="connsiteX4" fmla="*/ 297504 w 10184697"/>
              <a:gd name="connsiteY4" fmla="*/ 7570788 h 7570788"/>
              <a:gd name="connsiteX5" fmla="*/ 0 w 10184697"/>
              <a:gd name="connsiteY5" fmla="*/ 6637135 h 7570788"/>
              <a:gd name="connsiteX6" fmla="*/ 876749 w 10184697"/>
              <a:gd name="connsiteY6" fmla="*/ 5907358 h 7570788"/>
              <a:gd name="connsiteX7" fmla="*/ 2612687 w 10184697"/>
              <a:gd name="connsiteY7" fmla="*/ 5372337 h 7570788"/>
              <a:gd name="connsiteX8" fmla="*/ 4081563 w 10184697"/>
              <a:gd name="connsiteY8" fmla="*/ 4808134 h 7570788"/>
              <a:gd name="connsiteX9" fmla="*/ 5744995 w 10184697"/>
              <a:gd name="connsiteY9" fmla="*/ 3728362 h 7570788"/>
              <a:gd name="connsiteX10" fmla="*/ 6844219 w 10184697"/>
              <a:gd name="connsiteY10" fmla="*/ 2522132 h 7570788"/>
              <a:gd name="connsiteX11" fmla="*/ 7661341 w 10184697"/>
              <a:gd name="connsiteY11" fmla="*/ 12397 h 7570788"/>
              <a:gd name="connsiteX12" fmla="*/ 10184697 w 10184697"/>
              <a:gd name="connsiteY12" fmla="*/ 103837 h 7570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184697" h="7570788">
                <a:moveTo>
                  <a:pt x="10034891" y="7249776"/>
                </a:moveTo>
                <a:lnTo>
                  <a:pt x="7243053" y="7356780"/>
                </a:lnTo>
                <a:lnTo>
                  <a:pt x="6746942" y="7473511"/>
                </a:lnTo>
                <a:lnTo>
                  <a:pt x="6134099" y="7171954"/>
                </a:lnTo>
                <a:lnTo>
                  <a:pt x="297504" y="7570788"/>
                </a:lnTo>
                <a:lnTo>
                  <a:pt x="0" y="6637135"/>
                </a:lnTo>
                <a:cubicBezTo>
                  <a:pt x="111132" y="6377731"/>
                  <a:pt x="441301" y="6118158"/>
                  <a:pt x="876749" y="5907358"/>
                </a:cubicBezTo>
                <a:cubicBezTo>
                  <a:pt x="1312197" y="5696558"/>
                  <a:pt x="2078551" y="5555541"/>
                  <a:pt x="2612687" y="5372337"/>
                </a:cubicBezTo>
                <a:cubicBezTo>
                  <a:pt x="3146823" y="5189133"/>
                  <a:pt x="3559512" y="5082130"/>
                  <a:pt x="4081563" y="4808134"/>
                </a:cubicBezTo>
                <a:cubicBezTo>
                  <a:pt x="4603614" y="4534138"/>
                  <a:pt x="5459650" y="3963446"/>
                  <a:pt x="5744995" y="3728362"/>
                </a:cubicBezTo>
                <a:cubicBezTo>
                  <a:pt x="6030340" y="3493278"/>
                  <a:pt x="6524828" y="3141459"/>
                  <a:pt x="6844219" y="2522132"/>
                </a:cubicBezTo>
                <a:cubicBezTo>
                  <a:pt x="7163610" y="1902805"/>
                  <a:pt x="7161339" y="355460"/>
                  <a:pt x="7661341" y="12397"/>
                </a:cubicBezTo>
                <a:cubicBezTo>
                  <a:pt x="8459009" y="-42726"/>
                  <a:pt x="10184697" y="103837"/>
                  <a:pt x="10184697" y="103837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Group 1"/>
          <p:cNvGrpSpPr/>
          <p:nvPr/>
        </p:nvGrpSpPr>
        <p:grpSpPr>
          <a:xfrm>
            <a:off x="-4450" y="4168738"/>
            <a:ext cx="6854584" cy="1790994"/>
            <a:chOff x="1602923" y="3684338"/>
            <a:chExt cx="6853394" cy="1790994"/>
          </a:xfrm>
        </p:grpSpPr>
        <p:pic>
          <p:nvPicPr>
            <p:cNvPr id="29" name="Picture 4" descr="http://2.bp.blogspot.com/-gAlBAwwI-v0/Tga7JvqhjxI/AAAAAAAAM_0/TyaaAOuwWfU/s1600/germany%20flag%20map.bmp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2923" y="3684338"/>
              <a:ext cx="1080521" cy="9337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feld 15"/>
            <p:cNvSpPr txBox="1"/>
            <p:nvPr/>
          </p:nvSpPr>
          <p:spPr>
            <a:xfrm>
              <a:off x="2010577" y="4705891"/>
              <a:ext cx="644574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de-DE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</a:rPr>
                <a:t>2013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</a:rPr>
                <a:t>первые собственные мероприятия</a:t>
              </a:r>
            </a:p>
            <a:p>
              <a:pPr marL="285750" indent="-285750" defTabSz="914400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</a:rPr>
                <a:t>первая программа </a:t>
              </a:r>
              <a:r>
                <a:rPr lang="ru-RU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</a:rPr>
                <a:t>грантовой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/>
                </a:rPr>
                <a:t> поддержки в Германии</a:t>
              </a:r>
            </a:p>
          </p:txBody>
        </p:sp>
      </p:grpSp>
      <p:pic>
        <p:nvPicPr>
          <p:cNvPr id="38" name="Grafik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02"/>
          <a:stretch/>
        </p:blipFill>
        <p:spPr>
          <a:xfrm>
            <a:off x="205818" y="216558"/>
            <a:ext cx="3407846" cy="764170"/>
          </a:xfrm>
          <a:prstGeom prst="rect">
            <a:avLst/>
          </a:prstGeom>
        </p:spPr>
      </p:pic>
      <p:sp>
        <p:nvSpPr>
          <p:cNvPr id="47" name="Oval 46"/>
          <p:cNvSpPr/>
          <p:nvPr/>
        </p:nvSpPr>
        <p:spPr>
          <a:xfrm>
            <a:off x="4701871" y="1533769"/>
            <a:ext cx="1386241" cy="13860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" name="Group 3"/>
          <p:cNvGrpSpPr/>
          <p:nvPr/>
        </p:nvGrpSpPr>
        <p:grpSpPr>
          <a:xfrm>
            <a:off x="1908035" y="3207840"/>
            <a:ext cx="5402870" cy="2142321"/>
            <a:chOff x="1838997" y="3241347"/>
            <a:chExt cx="5401932" cy="2142321"/>
          </a:xfrm>
        </p:grpSpPr>
        <p:grpSp>
          <p:nvGrpSpPr>
            <p:cNvPr id="3" name="Group 2"/>
            <p:cNvGrpSpPr/>
            <p:nvPr/>
          </p:nvGrpSpPr>
          <p:grpSpPr>
            <a:xfrm>
              <a:off x="1838997" y="3241347"/>
              <a:ext cx="5401932" cy="2142321"/>
              <a:chOff x="3307620" y="2583750"/>
              <a:chExt cx="5401932" cy="2142321"/>
            </a:xfrm>
          </p:grpSpPr>
          <p:sp>
            <p:nvSpPr>
              <p:cNvPr id="32" name="Textfeld 15"/>
              <p:cNvSpPr txBox="1"/>
              <p:nvPr/>
            </p:nvSpPr>
            <p:spPr>
              <a:xfrm>
                <a:off x="3776220" y="3956630"/>
                <a:ext cx="4933332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400"/>
                <a:r>
                  <a:rPr lang="de-DE" sz="16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/>
                  </a:rPr>
                  <a:t>2014</a:t>
                </a:r>
              </a:p>
              <a:p>
                <a:pPr marL="285750" indent="-285750" defTabSz="914400"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/>
                  </a:rPr>
                  <a:t>акселератор проектов в области цифровой медицины </a:t>
                </a:r>
                <a:r>
                  <a:rPr lang="ru-RU" sz="1400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/>
                  </a:rPr>
                  <a:t>для команд </a:t>
                </a:r>
                <a:r>
                  <a:rPr lang="ru-RU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/>
                  </a:rPr>
                  <a:t>из Европы</a:t>
                </a:r>
              </a:p>
            </p:txBody>
          </p:sp>
          <p:pic>
            <p:nvPicPr>
              <p:cNvPr id="33" name="Picture 6" descr="http://www.gwi-boell.de/sites/default/files/grid/2013/11/15/Flag_Map_of_European_Union.pn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grayscl/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sharpenSoften amount="50000"/>
                        </a14:imgEffect>
                        <a14:imgEffect>
                          <a14:brightnessContrast contrast="6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019"/>
              <a:stretch/>
            </p:blipFill>
            <p:spPr bwMode="auto">
              <a:xfrm>
                <a:off x="3307620" y="2583750"/>
                <a:ext cx="1264380" cy="13493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Freeform 47"/>
            <p:cNvSpPr/>
            <p:nvPr/>
          </p:nvSpPr>
          <p:spPr>
            <a:xfrm>
              <a:off x="2300168" y="4096730"/>
              <a:ext cx="142603" cy="144016"/>
            </a:xfrm>
            <a:custGeom>
              <a:avLst/>
              <a:gdLst>
                <a:gd name="connsiteX0" fmla="*/ 73025 w 441325"/>
                <a:gd name="connsiteY0" fmla="*/ 98425 h 317500"/>
                <a:gd name="connsiteX1" fmla="*/ 0 w 441325"/>
                <a:gd name="connsiteY1" fmla="*/ 215900 h 317500"/>
                <a:gd name="connsiteX2" fmla="*/ 12700 w 441325"/>
                <a:gd name="connsiteY2" fmla="*/ 311150 h 317500"/>
                <a:gd name="connsiteX3" fmla="*/ 101600 w 441325"/>
                <a:gd name="connsiteY3" fmla="*/ 317500 h 317500"/>
                <a:gd name="connsiteX4" fmla="*/ 196850 w 441325"/>
                <a:gd name="connsiteY4" fmla="*/ 292100 h 317500"/>
                <a:gd name="connsiteX5" fmla="*/ 276225 w 441325"/>
                <a:gd name="connsiteY5" fmla="*/ 266700 h 317500"/>
                <a:gd name="connsiteX6" fmla="*/ 377825 w 441325"/>
                <a:gd name="connsiteY6" fmla="*/ 222250 h 317500"/>
                <a:gd name="connsiteX7" fmla="*/ 412750 w 441325"/>
                <a:gd name="connsiteY7" fmla="*/ 184150 h 317500"/>
                <a:gd name="connsiteX8" fmla="*/ 441325 w 441325"/>
                <a:gd name="connsiteY8" fmla="*/ 44450 h 317500"/>
                <a:gd name="connsiteX9" fmla="*/ 371475 w 441325"/>
                <a:gd name="connsiteY9" fmla="*/ 0 h 317500"/>
                <a:gd name="connsiteX10" fmla="*/ 279400 w 441325"/>
                <a:gd name="connsiteY10" fmla="*/ 0 h 317500"/>
                <a:gd name="connsiteX11" fmla="*/ 168275 w 441325"/>
                <a:gd name="connsiteY11" fmla="*/ 15875 h 317500"/>
                <a:gd name="connsiteX12" fmla="*/ 73025 w 441325"/>
                <a:gd name="connsiteY12" fmla="*/ 98425 h 317500"/>
                <a:gd name="connsiteX0" fmla="*/ 73025 w 441325"/>
                <a:gd name="connsiteY0" fmla="*/ 98425 h 317500"/>
                <a:gd name="connsiteX1" fmla="*/ 0 w 441325"/>
                <a:gd name="connsiteY1" fmla="*/ 215900 h 317500"/>
                <a:gd name="connsiteX2" fmla="*/ 12700 w 441325"/>
                <a:gd name="connsiteY2" fmla="*/ 311150 h 317500"/>
                <a:gd name="connsiteX3" fmla="*/ 101600 w 441325"/>
                <a:gd name="connsiteY3" fmla="*/ 317500 h 317500"/>
                <a:gd name="connsiteX4" fmla="*/ 196850 w 441325"/>
                <a:gd name="connsiteY4" fmla="*/ 292100 h 317500"/>
                <a:gd name="connsiteX5" fmla="*/ 276225 w 441325"/>
                <a:gd name="connsiteY5" fmla="*/ 266700 h 317500"/>
                <a:gd name="connsiteX6" fmla="*/ 377825 w 441325"/>
                <a:gd name="connsiteY6" fmla="*/ 241300 h 317500"/>
                <a:gd name="connsiteX7" fmla="*/ 412750 w 441325"/>
                <a:gd name="connsiteY7" fmla="*/ 184150 h 317500"/>
                <a:gd name="connsiteX8" fmla="*/ 441325 w 441325"/>
                <a:gd name="connsiteY8" fmla="*/ 44450 h 317500"/>
                <a:gd name="connsiteX9" fmla="*/ 371475 w 441325"/>
                <a:gd name="connsiteY9" fmla="*/ 0 h 317500"/>
                <a:gd name="connsiteX10" fmla="*/ 279400 w 441325"/>
                <a:gd name="connsiteY10" fmla="*/ 0 h 317500"/>
                <a:gd name="connsiteX11" fmla="*/ 168275 w 441325"/>
                <a:gd name="connsiteY11" fmla="*/ 15875 h 317500"/>
                <a:gd name="connsiteX12" fmla="*/ 73025 w 441325"/>
                <a:gd name="connsiteY12" fmla="*/ 98425 h 317500"/>
                <a:gd name="connsiteX0" fmla="*/ 73025 w 505622"/>
                <a:gd name="connsiteY0" fmla="*/ 98425 h 317500"/>
                <a:gd name="connsiteX1" fmla="*/ 0 w 505622"/>
                <a:gd name="connsiteY1" fmla="*/ 215900 h 317500"/>
                <a:gd name="connsiteX2" fmla="*/ 12700 w 505622"/>
                <a:gd name="connsiteY2" fmla="*/ 311150 h 317500"/>
                <a:gd name="connsiteX3" fmla="*/ 101600 w 505622"/>
                <a:gd name="connsiteY3" fmla="*/ 317500 h 317500"/>
                <a:gd name="connsiteX4" fmla="*/ 196850 w 505622"/>
                <a:gd name="connsiteY4" fmla="*/ 292100 h 317500"/>
                <a:gd name="connsiteX5" fmla="*/ 276225 w 505622"/>
                <a:gd name="connsiteY5" fmla="*/ 266700 h 317500"/>
                <a:gd name="connsiteX6" fmla="*/ 377825 w 505622"/>
                <a:gd name="connsiteY6" fmla="*/ 241300 h 317500"/>
                <a:gd name="connsiteX7" fmla="*/ 505622 w 505622"/>
                <a:gd name="connsiteY7" fmla="*/ 199897 h 317500"/>
                <a:gd name="connsiteX8" fmla="*/ 441325 w 505622"/>
                <a:gd name="connsiteY8" fmla="*/ 44450 h 317500"/>
                <a:gd name="connsiteX9" fmla="*/ 371475 w 505622"/>
                <a:gd name="connsiteY9" fmla="*/ 0 h 317500"/>
                <a:gd name="connsiteX10" fmla="*/ 279400 w 505622"/>
                <a:gd name="connsiteY10" fmla="*/ 0 h 317500"/>
                <a:gd name="connsiteX11" fmla="*/ 168275 w 505622"/>
                <a:gd name="connsiteY11" fmla="*/ 15875 h 317500"/>
                <a:gd name="connsiteX12" fmla="*/ 73025 w 505622"/>
                <a:gd name="connsiteY12" fmla="*/ 98425 h 317500"/>
                <a:gd name="connsiteX0" fmla="*/ 73025 w 505622"/>
                <a:gd name="connsiteY0" fmla="*/ 98425 h 317500"/>
                <a:gd name="connsiteX1" fmla="*/ 0 w 505622"/>
                <a:gd name="connsiteY1" fmla="*/ 215900 h 317500"/>
                <a:gd name="connsiteX2" fmla="*/ 12700 w 505622"/>
                <a:gd name="connsiteY2" fmla="*/ 311150 h 317500"/>
                <a:gd name="connsiteX3" fmla="*/ 101600 w 505622"/>
                <a:gd name="connsiteY3" fmla="*/ 317500 h 317500"/>
                <a:gd name="connsiteX4" fmla="*/ 196850 w 505622"/>
                <a:gd name="connsiteY4" fmla="*/ 292100 h 317500"/>
                <a:gd name="connsiteX5" fmla="*/ 276225 w 505622"/>
                <a:gd name="connsiteY5" fmla="*/ 266700 h 317500"/>
                <a:gd name="connsiteX6" fmla="*/ 377825 w 505622"/>
                <a:gd name="connsiteY6" fmla="*/ 241300 h 317500"/>
                <a:gd name="connsiteX7" fmla="*/ 505622 w 505622"/>
                <a:gd name="connsiteY7" fmla="*/ 199897 h 317500"/>
                <a:gd name="connsiteX8" fmla="*/ 415995 w 505622"/>
                <a:gd name="connsiteY8" fmla="*/ 86447 h 317500"/>
                <a:gd name="connsiteX9" fmla="*/ 371475 w 505622"/>
                <a:gd name="connsiteY9" fmla="*/ 0 h 317500"/>
                <a:gd name="connsiteX10" fmla="*/ 279400 w 505622"/>
                <a:gd name="connsiteY10" fmla="*/ 0 h 317500"/>
                <a:gd name="connsiteX11" fmla="*/ 168275 w 505622"/>
                <a:gd name="connsiteY11" fmla="*/ 15875 h 317500"/>
                <a:gd name="connsiteX12" fmla="*/ 73025 w 505622"/>
                <a:gd name="connsiteY12" fmla="*/ 98425 h 317500"/>
                <a:gd name="connsiteX0" fmla="*/ 73025 w 505622"/>
                <a:gd name="connsiteY0" fmla="*/ 98425 h 317500"/>
                <a:gd name="connsiteX1" fmla="*/ 0 w 505622"/>
                <a:gd name="connsiteY1" fmla="*/ 215900 h 317500"/>
                <a:gd name="connsiteX2" fmla="*/ 12700 w 505622"/>
                <a:gd name="connsiteY2" fmla="*/ 311150 h 317500"/>
                <a:gd name="connsiteX3" fmla="*/ 101600 w 505622"/>
                <a:gd name="connsiteY3" fmla="*/ 317500 h 317500"/>
                <a:gd name="connsiteX4" fmla="*/ 196850 w 505622"/>
                <a:gd name="connsiteY4" fmla="*/ 292100 h 317500"/>
                <a:gd name="connsiteX5" fmla="*/ 276225 w 505622"/>
                <a:gd name="connsiteY5" fmla="*/ 266700 h 317500"/>
                <a:gd name="connsiteX6" fmla="*/ 420040 w 505622"/>
                <a:gd name="connsiteY6" fmla="*/ 293798 h 317500"/>
                <a:gd name="connsiteX7" fmla="*/ 505622 w 505622"/>
                <a:gd name="connsiteY7" fmla="*/ 199897 h 317500"/>
                <a:gd name="connsiteX8" fmla="*/ 415995 w 505622"/>
                <a:gd name="connsiteY8" fmla="*/ 86447 h 317500"/>
                <a:gd name="connsiteX9" fmla="*/ 371475 w 505622"/>
                <a:gd name="connsiteY9" fmla="*/ 0 h 317500"/>
                <a:gd name="connsiteX10" fmla="*/ 279400 w 505622"/>
                <a:gd name="connsiteY10" fmla="*/ 0 h 317500"/>
                <a:gd name="connsiteX11" fmla="*/ 168275 w 505622"/>
                <a:gd name="connsiteY11" fmla="*/ 15875 h 317500"/>
                <a:gd name="connsiteX12" fmla="*/ 73025 w 505622"/>
                <a:gd name="connsiteY12" fmla="*/ 98425 h 317500"/>
                <a:gd name="connsiteX0" fmla="*/ 73025 w 505622"/>
                <a:gd name="connsiteY0" fmla="*/ 98425 h 317500"/>
                <a:gd name="connsiteX1" fmla="*/ 0 w 505622"/>
                <a:gd name="connsiteY1" fmla="*/ 215900 h 317500"/>
                <a:gd name="connsiteX2" fmla="*/ 12700 w 505622"/>
                <a:gd name="connsiteY2" fmla="*/ 311150 h 317500"/>
                <a:gd name="connsiteX3" fmla="*/ 101600 w 505622"/>
                <a:gd name="connsiteY3" fmla="*/ 317500 h 317500"/>
                <a:gd name="connsiteX4" fmla="*/ 196850 w 505622"/>
                <a:gd name="connsiteY4" fmla="*/ 292100 h 317500"/>
                <a:gd name="connsiteX5" fmla="*/ 293113 w 505622"/>
                <a:gd name="connsiteY5" fmla="*/ 308697 h 317500"/>
                <a:gd name="connsiteX6" fmla="*/ 420040 w 505622"/>
                <a:gd name="connsiteY6" fmla="*/ 293798 h 317500"/>
                <a:gd name="connsiteX7" fmla="*/ 505622 w 505622"/>
                <a:gd name="connsiteY7" fmla="*/ 199897 h 317500"/>
                <a:gd name="connsiteX8" fmla="*/ 415995 w 505622"/>
                <a:gd name="connsiteY8" fmla="*/ 86447 h 317500"/>
                <a:gd name="connsiteX9" fmla="*/ 371475 w 505622"/>
                <a:gd name="connsiteY9" fmla="*/ 0 h 317500"/>
                <a:gd name="connsiteX10" fmla="*/ 279400 w 505622"/>
                <a:gd name="connsiteY10" fmla="*/ 0 h 317500"/>
                <a:gd name="connsiteX11" fmla="*/ 168275 w 505622"/>
                <a:gd name="connsiteY11" fmla="*/ 15875 h 317500"/>
                <a:gd name="connsiteX12" fmla="*/ 73025 w 505622"/>
                <a:gd name="connsiteY12" fmla="*/ 98425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5622" h="317500">
                  <a:moveTo>
                    <a:pt x="73025" y="98425"/>
                  </a:moveTo>
                  <a:lnTo>
                    <a:pt x="0" y="215900"/>
                  </a:lnTo>
                  <a:lnTo>
                    <a:pt x="12700" y="311150"/>
                  </a:lnTo>
                  <a:lnTo>
                    <a:pt x="101600" y="317500"/>
                  </a:lnTo>
                  <a:lnTo>
                    <a:pt x="196850" y="292100"/>
                  </a:lnTo>
                  <a:lnTo>
                    <a:pt x="293113" y="308697"/>
                  </a:lnTo>
                  <a:lnTo>
                    <a:pt x="420040" y="293798"/>
                  </a:lnTo>
                  <a:lnTo>
                    <a:pt x="505622" y="199897"/>
                  </a:lnTo>
                  <a:lnTo>
                    <a:pt x="415995" y="86447"/>
                  </a:lnTo>
                  <a:lnTo>
                    <a:pt x="371475" y="0"/>
                  </a:lnTo>
                  <a:lnTo>
                    <a:pt x="279400" y="0"/>
                  </a:lnTo>
                  <a:lnTo>
                    <a:pt x="168275" y="15875"/>
                  </a:lnTo>
                  <a:lnTo>
                    <a:pt x="73025" y="98425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9" name="Rectangle 48"/>
          <p:cNvSpPr/>
          <p:nvPr/>
        </p:nvSpPr>
        <p:spPr>
          <a:xfrm>
            <a:off x="4754" y="1220560"/>
            <a:ext cx="42079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chemeClr val="bg1">
                    <a:lumMod val="65000"/>
                  </a:schemeClr>
                </a:solidFill>
                <a:latin typeface="Arial"/>
              </a:rPr>
              <a:t>Dream big.</a:t>
            </a:r>
          </a:p>
          <a:p>
            <a:r>
              <a:rPr lang="en-US" sz="2400" b="1" dirty="0" smtClean="0">
                <a:solidFill>
                  <a:schemeClr val="bg1">
                    <a:lumMod val="65000"/>
                  </a:schemeClr>
                </a:solidFill>
                <a:latin typeface="Arial"/>
              </a:rPr>
              <a:t>Start small.</a:t>
            </a:r>
          </a:p>
          <a:p>
            <a:r>
              <a:rPr lang="en-US" sz="2400" b="1" dirty="0" smtClean="0">
                <a:solidFill>
                  <a:schemeClr val="bg1">
                    <a:lumMod val="65000"/>
                  </a:schemeClr>
                </a:solidFill>
                <a:latin typeface="Arial"/>
              </a:rPr>
              <a:t>But most of all… start.</a:t>
            </a:r>
            <a:endParaRPr lang="ru-RU" sz="2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4" name="Textfeld 6"/>
          <p:cNvSpPr txBox="1"/>
          <p:nvPr/>
        </p:nvSpPr>
        <p:spPr>
          <a:xfrm>
            <a:off x="3920496" y="3874898"/>
            <a:ext cx="477477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2015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международный акселератор проектов в области цифровой медицины</a:t>
            </a:r>
            <a:endParaRPr lang="de-DE" sz="14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41" name="Textfeld 6"/>
          <p:cNvSpPr txBox="1"/>
          <p:nvPr/>
        </p:nvSpPr>
        <p:spPr>
          <a:xfrm>
            <a:off x="4952150" y="3175391"/>
            <a:ext cx="444601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201</a:t>
            </a:r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6</a:t>
            </a:r>
            <a:endParaRPr lang="de-DE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открытие региональных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программ:          Москва, Барселона, Шанхай и др.</a:t>
            </a:r>
            <a:endParaRPr lang="de-DE" sz="14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pic>
        <p:nvPicPr>
          <p:cNvPr id="23" name="Grafik 3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33000"/>
                    </a14:imgEffect>
                    <a14:imgEffect>
                      <a14:brightnessContrast contrast="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844" y="980728"/>
            <a:ext cx="2223126" cy="153488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4" name="Textfeld 6"/>
          <p:cNvSpPr txBox="1"/>
          <p:nvPr/>
        </p:nvSpPr>
        <p:spPr>
          <a:xfrm>
            <a:off x="5725122" y="2512848"/>
            <a:ext cx="394187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201</a:t>
            </a:r>
            <a:r>
              <a: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7</a:t>
            </a:r>
            <a:endParaRPr lang="de-DE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глобальная программа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Dealmaker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           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&gt; 1000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</a:rPr>
              <a:t>заявок со всего мира</a:t>
            </a:r>
            <a:endParaRPr lang="de-DE" sz="14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</a:endParaRPr>
          </a:p>
        </p:txBody>
      </p:sp>
      <p:sp>
        <p:nvSpPr>
          <p:cNvPr id="22" name="Titel 1"/>
          <p:cNvSpPr txBox="1">
            <a:spLocks/>
          </p:cNvSpPr>
          <p:nvPr/>
        </p:nvSpPr>
        <p:spPr bwMode="gray">
          <a:xfrm>
            <a:off x="3814864" y="-89761"/>
            <a:ext cx="3881195" cy="9493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dirty="0">
                <a:solidFill>
                  <a:srgbClr val="676767"/>
                </a:solidFill>
                <a:latin typeface="Arial"/>
              </a:rPr>
              <a:t>	       		     </a:t>
            </a:r>
            <a:r>
              <a:rPr lang="ru-RU" sz="3600" dirty="0" smtClean="0">
                <a:solidFill>
                  <a:srgbClr val="676767"/>
                </a:solidFill>
                <a:latin typeface="Arial"/>
              </a:rPr>
              <a:t>история в мире</a:t>
            </a:r>
            <a:endParaRPr lang="de-DE" sz="3600" dirty="0">
              <a:solidFill>
                <a:srgbClr val="676767"/>
              </a:solidFill>
              <a:latin typeface="Arial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717" y="276057"/>
            <a:ext cx="969066" cy="968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82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_BAG_PPT-master_4-3_2017-11-20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sch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40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4-3_2017-11-20</Template>
  <TotalTime>0</TotalTime>
  <Words>462</Words>
  <Application>Microsoft Office PowerPoint</Application>
  <PresentationFormat>Произвольный</PresentationFormat>
  <Paragraphs>127</Paragraphs>
  <Slides>16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PR_BAG_PPT-master_4-3_2017-11-20</vt:lpstr>
      <vt:lpstr>think-cell Slide</vt:lpstr>
      <vt:lpstr>Bayer   Кто мы         Наши программы </vt:lpstr>
      <vt:lpstr>Презентация PowerPoint</vt:lpstr>
      <vt:lpstr>Подразделения компании</vt:lpstr>
      <vt:lpstr>Начать карьеру в Bayer</vt:lpstr>
      <vt:lpstr>О программе:</vt:lpstr>
      <vt:lpstr>Что помогает нам быть лучше?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Лига Знаний «Естественный интеллект»</vt:lpstr>
      <vt:lpstr>Спасибо за внимание!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r, Россия и СНГ</dc:title>
  <dc:creator>Darya Sigaeva</dc:creator>
  <cp:lastModifiedBy>Darya Sigaeva</cp:lastModifiedBy>
  <cp:revision>12</cp:revision>
  <dcterms:created xsi:type="dcterms:W3CDTF">2018-03-15T15:31:10Z</dcterms:created>
  <dcterms:modified xsi:type="dcterms:W3CDTF">2018-03-22T13:4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596;513;570;513;614;513</vt:lpwstr>
  </property>
</Properties>
</file>